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8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DC420F-8597-4D3B-AC8E-4282C64EDF5B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864006-7F4C-4D59-9E61-9747715AC1C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3331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366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60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510283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22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23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4038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66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77747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" name="Copy contact 1">
            <a:extLst>
              <a:ext uri="{FF2B5EF4-FFF2-40B4-BE49-F238E27FC236}">
                <a16:creationId xmlns:a16="http://schemas.microsoft.com/office/drawing/2014/main" id="{41A7C76F-86D5-85BA-0163-1EB99F183EEC}"/>
              </a:ext>
            </a:extLst>
          </p:cNvPr>
          <p:cNvSpPr>
            <a:spLocks/>
          </p:cNvSpPr>
          <p:nvPr/>
        </p:nvSpPr>
        <p:spPr bwMode="gray">
          <a:xfrm>
            <a:off x="2869221" y="1562523"/>
            <a:ext cx="2577579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</p:txBody>
      </p:sp>
      <p:sp>
        <p:nvSpPr>
          <p:cNvPr id="4" name="Rectangle 90">
            <a:extLst>
              <a:ext uri="{FF2B5EF4-FFF2-40B4-BE49-F238E27FC236}">
                <a16:creationId xmlns:a16="http://schemas.microsoft.com/office/drawing/2014/main" id="{EDA337D5-1EA3-BCB1-2FCC-446D8B320C49}"/>
              </a:ext>
            </a:extLst>
          </p:cNvPr>
          <p:cNvSpPr>
            <a:spLocks/>
          </p:cNvSpPr>
          <p:nvPr/>
        </p:nvSpPr>
        <p:spPr bwMode="auto">
          <a:xfrm>
            <a:off x="419099" y="1562523"/>
            <a:ext cx="2160000" cy="2160000"/>
          </a:xfrm>
          <a:prstGeom prst="teardrop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6" name="Grafik 5">
            <a:extLst>
              <a:ext uri="{FF2B5EF4-FFF2-40B4-BE49-F238E27FC236}">
                <a16:creationId xmlns:a16="http://schemas.microsoft.com/office/drawing/2014/main" id="{F671EC04-4538-E32C-1D58-25B4BD6F80AA}"/>
              </a:ext>
            </a:extLst>
          </p:cNvPr>
          <p:cNvSpPr>
            <a:spLocks/>
          </p:cNvSpPr>
          <p:nvPr/>
        </p:nvSpPr>
        <p:spPr>
          <a:xfrm>
            <a:off x="2869221" y="2714123"/>
            <a:ext cx="216805" cy="216805"/>
          </a:xfrm>
          <a:custGeom>
            <a:avLst/>
            <a:gdLst>
              <a:gd name="connsiteX0" fmla="*/ 3962400 w 4267200"/>
              <a:gd name="connsiteY0" fmla="*/ 0 h 4267200"/>
              <a:gd name="connsiteX1" fmla="*/ 303848 w 4267200"/>
              <a:gd name="connsiteY1" fmla="*/ 0 h 4267200"/>
              <a:gd name="connsiteX2" fmla="*/ 0 w 4267200"/>
              <a:gd name="connsiteY2" fmla="*/ 307658 h 4267200"/>
              <a:gd name="connsiteX3" fmla="*/ 0 w 4267200"/>
              <a:gd name="connsiteY3" fmla="*/ 3959543 h 4267200"/>
              <a:gd name="connsiteX4" fmla="*/ 303848 w 4267200"/>
              <a:gd name="connsiteY4" fmla="*/ 4267200 h 4267200"/>
              <a:gd name="connsiteX5" fmla="*/ 3962400 w 4267200"/>
              <a:gd name="connsiteY5" fmla="*/ 4267200 h 4267200"/>
              <a:gd name="connsiteX6" fmla="*/ 4267200 w 4267200"/>
              <a:gd name="connsiteY6" fmla="*/ 3959543 h 4267200"/>
              <a:gd name="connsiteX7" fmla="*/ 4267200 w 4267200"/>
              <a:gd name="connsiteY7" fmla="*/ 307658 h 4267200"/>
              <a:gd name="connsiteX8" fmla="*/ 3962400 w 4267200"/>
              <a:gd name="connsiteY8" fmla="*/ 0 h 4267200"/>
              <a:gd name="connsiteX9" fmla="*/ 1289685 w 4267200"/>
              <a:gd name="connsiteY9" fmla="*/ 3657600 h 4267200"/>
              <a:gd name="connsiteX10" fmla="*/ 657225 w 4267200"/>
              <a:gd name="connsiteY10" fmla="*/ 3657600 h 4267200"/>
              <a:gd name="connsiteX11" fmla="*/ 657225 w 4267200"/>
              <a:gd name="connsiteY11" fmla="*/ 1621155 h 4267200"/>
              <a:gd name="connsiteX12" fmla="*/ 1290638 w 4267200"/>
              <a:gd name="connsiteY12" fmla="*/ 1621155 h 4267200"/>
              <a:gd name="connsiteX13" fmla="*/ 1290638 w 4267200"/>
              <a:gd name="connsiteY13" fmla="*/ 3657600 h 4267200"/>
              <a:gd name="connsiteX14" fmla="*/ 973455 w 4267200"/>
              <a:gd name="connsiteY14" fmla="*/ 1343025 h 4267200"/>
              <a:gd name="connsiteX15" fmla="*/ 606743 w 4267200"/>
              <a:gd name="connsiteY15" fmla="*/ 976313 h 4267200"/>
              <a:gd name="connsiteX16" fmla="*/ 973455 w 4267200"/>
              <a:gd name="connsiteY16" fmla="*/ 609600 h 4267200"/>
              <a:gd name="connsiteX17" fmla="*/ 1340168 w 4267200"/>
              <a:gd name="connsiteY17" fmla="*/ 976313 h 4267200"/>
              <a:gd name="connsiteX18" fmla="*/ 973455 w 4267200"/>
              <a:gd name="connsiteY18" fmla="*/ 1343025 h 4267200"/>
              <a:gd name="connsiteX19" fmla="*/ 3660458 w 4267200"/>
              <a:gd name="connsiteY19" fmla="*/ 3657600 h 4267200"/>
              <a:gd name="connsiteX20" fmla="*/ 3027998 w 4267200"/>
              <a:gd name="connsiteY20" fmla="*/ 3657600 h 4267200"/>
              <a:gd name="connsiteX21" fmla="*/ 3027998 w 4267200"/>
              <a:gd name="connsiteY21" fmla="*/ 2667000 h 4267200"/>
              <a:gd name="connsiteX22" fmla="*/ 2699385 w 4267200"/>
              <a:gd name="connsiteY22" fmla="*/ 2126933 h 4267200"/>
              <a:gd name="connsiteX23" fmla="*/ 2319338 w 4267200"/>
              <a:gd name="connsiteY23" fmla="*/ 2649855 h 4267200"/>
              <a:gd name="connsiteX24" fmla="*/ 2319338 w 4267200"/>
              <a:gd name="connsiteY24" fmla="*/ 3657600 h 4267200"/>
              <a:gd name="connsiteX25" fmla="*/ 1686878 w 4267200"/>
              <a:gd name="connsiteY25" fmla="*/ 3657600 h 4267200"/>
              <a:gd name="connsiteX26" fmla="*/ 1686878 w 4267200"/>
              <a:gd name="connsiteY26" fmla="*/ 1621155 h 4267200"/>
              <a:gd name="connsiteX27" fmla="*/ 2293620 w 4267200"/>
              <a:gd name="connsiteY27" fmla="*/ 1621155 h 4267200"/>
              <a:gd name="connsiteX28" fmla="*/ 2293620 w 4267200"/>
              <a:gd name="connsiteY28" fmla="*/ 1899285 h 4267200"/>
              <a:gd name="connsiteX29" fmla="*/ 2302193 w 4267200"/>
              <a:gd name="connsiteY29" fmla="*/ 1899285 h 4267200"/>
              <a:gd name="connsiteX30" fmla="*/ 2901315 w 4267200"/>
              <a:gd name="connsiteY30" fmla="*/ 1570673 h 4267200"/>
              <a:gd name="connsiteX31" fmla="*/ 3660458 w 4267200"/>
              <a:gd name="connsiteY31" fmla="*/ 2541270 h 4267200"/>
              <a:gd name="connsiteX32" fmla="*/ 3660458 w 4267200"/>
              <a:gd name="connsiteY32" fmla="*/ 36576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267200" h="4267200">
                <a:moveTo>
                  <a:pt x="3962400" y="0"/>
                </a:moveTo>
                <a:lnTo>
                  <a:pt x="303848" y="0"/>
                </a:lnTo>
                <a:cubicBezTo>
                  <a:pt x="136208" y="0"/>
                  <a:pt x="0" y="138113"/>
                  <a:pt x="0" y="307658"/>
                </a:cubicBezTo>
                <a:lnTo>
                  <a:pt x="0" y="3959543"/>
                </a:lnTo>
                <a:cubicBezTo>
                  <a:pt x="0" y="4129088"/>
                  <a:pt x="136208" y="4267200"/>
                  <a:pt x="303848" y="4267200"/>
                </a:cubicBezTo>
                <a:lnTo>
                  <a:pt x="3962400" y="4267200"/>
                </a:lnTo>
                <a:cubicBezTo>
                  <a:pt x="4130040" y="4267200"/>
                  <a:pt x="4267200" y="4129088"/>
                  <a:pt x="4267200" y="3959543"/>
                </a:cubicBezTo>
                <a:lnTo>
                  <a:pt x="4267200" y="307658"/>
                </a:lnTo>
                <a:cubicBezTo>
                  <a:pt x="4267200" y="138113"/>
                  <a:pt x="4130040" y="0"/>
                  <a:pt x="3962400" y="0"/>
                </a:cubicBezTo>
                <a:close/>
                <a:moveTo>
                  <a:pt x="1289685" y="3657600"/>
                </a:moveTo>
                <a:lnTo>
                  <a:pt x="657225" y="3657600"/>
                </a:lnTo>
                <a:lnTo>
                  <a:pt x="657225" y="1621155"/>
                </a:lnTo>
                <a:lnTo>
                  <a:pt x="1290638" y="1621155"/>
                </a:lnTo>
                <a:lnTo>
                  <a:pt x="1290638" y="3657600"/>
                </a:lnTo>
                <a:close/>
                <a:moveTo>
                  <a:pt x="973455" y="1343025"/>
                </a:moveTo>
                <a:cubicBezTo>
                  <a:pt x="770573" y="1343025"/>
                  <a:pt x="606743" y="1178243"/>
                  <a:pt x="606743" y="976313"/>
                </a:cubicBezTo>
                <a:cubicBezTo>
                  <a:pt x="606743" y="774383"/>
                  <a:pt x="770573" y="609600"/>
                  <a:pt x="973455" y="609600"/>
                </a:cubicBezTo>
                <a:cubicBezTo>
                  <a:pt x="1175385" y="609600"/>
                  <a:pt x="1340168" y="774383"/>
                  <a:pt x="1340168" y="976313"/>
                </a:cubicBezTo>
                <a:cubicBezTo>
                  <a:pt x="1340168" y="1179195"/>
                  <a:pt x="1176338" y="1343025"/>
                  <a:pt x="973455" y="1343025"/>
                </a:cubicBezTo>
                <a:close/>
                <a:moveTo>
                  <a:pt x="3660458" y="3657600"/>
                </a:moveTo>
                <a:lnTo>
                  <a:pt x="3027998" y="3657600"/>
                </a:lnTo>
                <a:lnTo>
                  <a:pt x="3027998" y="2667000"/>
                </a:lnTo>
                <a:cubicBezTo>
                  <a:pt x="3027998" y="2430780"/>
                  <a:pt x="3023235" y="2126933"/>
                  <a:pt x="2699385" y="2126933"/>
                </a:cubicBezTo>
                <a:cubicBezTo>
                  <a:pt x="2369820" y="2126933"/>
                  <a:pt x="2319338" y="2384108"/>
                  <a:pt x="2319338" y="2649855"/>
                </a:cubicBezTo>
                <a:lnTo>
                  <a:pt x="2319338" y="3657600"/>
                </a:lnTo>
                <a:lnTo>
                  <a:pt x="1686878" y="3657600"/>
                </a:lnTo>
                <a:lnTo>
                  <a:pt x="1686878" y="1621155"/>
                </a:lnTo>
                <a:lnTo>
                  <a:pt x="2293620" y="1621155"/>
                </a:lnTo>
                <a:lnTo>
                  <a:pt x="2293620" y="1899285"/>
                </a:lnTo>
                <a:lnTo>
                  <a:pt x="2302193" y="1899285"/>
                </a:lnTo>
                <a:cubicBezTo>
                  <a:pt x="2386965" y="1739265"/>
                  <a:pt x="2593658" y="1570673"/>
                  <a:pt x="2901315" y="1570673"/>
                </a:cubicBezTo>
                <a:cubicBezTo>
                  <a:pt x="3541395" y="1570673"/>
                  <a:pt x="3660458" y="1992630"/>
                  <a:pt x="3660458" y="2541270"/>
                </a:cubicBezTo>
                <a:lnTo>
                  <a:pt x="3660458" y="3657600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Grafik 18">
            <a:extLst>
              <a:ext uri="{FF2B5EF4-FFF2-40B4-BE49-F238E27FC236}">
                <a16:creationId xmlns:a16="http://schemas.microsoft.com/office/drawing/2014/main" id="{6152B711-E8C9-9404-A3B5-E54A505E8FC1}"/>
              </a:ext>
            </a:extLst>
          </p:cNvPr>
          <p:cNvSpPr>
            <a:spLocks/>
          </p:cNvSpPr>
          <p:nvPr/>
        </p:nvSpPr>
        <p:spPr>
          <a:xfrm>
            <a:off x="2869221" y="3258550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1764506 w 4267200"/>
              <a:gd name="connsiteY5" fmla="*/ 4267200 h 4267200"/>
              <a:gd name="connsiteX6" fmla="*/ 1764506 w 4267200"/>
              <a:gd name="connsiteY6" fmla="*/ 2816447 h 4267200"/>
              <a:gd name="connsiteX7" fmla="*/ 1164431 w 4267200"/>
              <a:gd name="connsiteY7" fmla="*/ 2816447 h 4267200"/>
              <a:gd name="connsiteX8" fmla="*/ 1164431 w 4267200"/>
              <a:gd name="connsiteY8" fmla="*/ 2133600 h 4267200"/>
              <a:gd name="connsiteX9" fmla="*/ 1764506 w 4267200"/>
              <a:gd name="connsiteY9" fmla="*/ 2133600 h 4267200"/>
              <a:gd name="connsiteX10" fmla="*/ 1764506 w 4267200"/>
              <a:gd name="connsiteY10" fmla="*/ 1613154 h 4267200"/>
              <a:gd name="connsiteX11" fmla="*/ 2656713 w 4267200"/>
              <a:gd name="connsiteY11" fmla="*/ 694182 h 4267200"/>
              <a:gd name="connsiteX12" fmla="*/ 3185541 w 4267200"/>
              <a:gd name="connsiteY12" fmla="*/ 740283 h 4267200"/>
              <a:gd name="connsiteX13" fmla="*/ 3185541 w 4267200"/>
              <a:gd name="connsiteY13" fmla="*/ 1321308 h 4267200"/>
              <a:gd name="connsiteX14" fmla="*/ 2887695 w 4267200"/>
              <a:gd name="connsiteY14" fmla="*/ 1321308 h 4267200"/>
              <a:gd name="connsiteX15" fmla="*/ 2502694 w 4267200"/>
              <a:gd name="connsiteY15" fmla="*/ 1690211 h 4267200"/>
              <a:gd name="connsiteX16" fmla="*/ 2502694 w 4267200"/>
              <a:gd name="connsiteY16" fmla="*/ 2133600 h 4267200"/>
              <a:gd name="connsiteX17" fmla="*/ 3157823 w 4267200"/>
              <a:gd name="connsiteY17" fmla="*/ 2133600 h 4267200"/>
              <a:gd name="connsiteX18" fmla="*/ 3053048 w 4267200"/>
              <a:gd name="connsiteY18" fmla="*/ 2816447 h 4267200"/>
              <a:gd name="connsiteX19" fmla="*/ 2502694 w 4267200"/>
              <a:gd name="connsiteY19" fmla="*/ 2816447 h 4267200"/>
              <a:gd name="connsiteX20" fmla="*/ 2502694 w 4267200"/>
              <a:gd name="connsiteY20" fmla="*/ 4267200 h 4267200"/>
              <a:gd name="connsiteX21" fmla="*/ 3810000 w 4267200"/>
              <a:gd name="connsiteY21" fmla="*/ 4267200 h 4267200"/>
              <a:gd name="connsiteX22" fmla="*/ 4267200 w 4267200"/>
              <a:gd name="connsiteY22" fmla="*/ 3810000 h 4267200"/>
              <a:gd name="connsiteX23" fmla="*/ 4267200 w 4267200"/>
              <a:gd name="connsiteY23" fmla="*/ 457200 h 4267200"/>
              <a:gd name="connsiteX24" fmla="*/ 3810000 w 4267200"/>
              <a:gd name="connsiteY24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1764506" y="4267200"/>
                </a:lnTo>
                <a:lnTo>
                  <a:pt x="1764506" y="2816447"/>
                </a:lnTo>
                <a:lnTo>
                  <a:pt x="1164431" y="2816447"/>
                </a:lnTo>
                <a:lnTo>
                  <a:pt x="1164431" y="2133600"/>
                </a:lnTo>
                <a:lnTo>
                  <a:pt x="1764506" y="2133600"/>
                </a:lnTo>
                <a:lnTo>
                  <a:pt x="1764506" y="1613154"/>
                </a:lnTo>
                <a:cubicBezTo>
                  <a:pt x="1764506" y="1021175"/>
                  <a:pt x="2116931" y="694182"/>
                  <a:pt x="2656713" y="694182"/>
                </a:cubicBezTo>
                <a:cubicBezTo>
                  <a:pt x="2915222" y="694182"/>
                  <a:pt x="3185541" y="740283"/>
                  <a:pt x="3185541" y="740283"/>
                </a:cubicBezTo>
                <a:lnTo>
                  <a:pt x="3185541" y="1321308"/>
                </a:lnTo>
                <a:lnTo>
                  <a:pt x="2887695" y="1321308"/>
                </a:lnTo>
                <a:cubicBezTo>
                  <a:pt x="2594229" y="1321308"/>
                  <a:pt x="2502694" y="1503426"/>
                  <a:pt x="2502694" y="1690211"/>
                </a:cubicBezTo>
                <a:lnTo>
                  <a:pt x="2502694" y="2133600"/>
                </a:lnTo>
                <a:lnTo>
                  <a:pt x="3157823" y="2133600"/>
                </a:lnTo>
                <a:lnTo>
                  <a:pt x="3053048" y="2816447"/>
                </a:lnTo>
                <a:lnTo>
                  <a:pt x="2502694" y="2816447"/>
                </a:lnTo>
                <a:lnTo>
                  <a:pt x="2502694" y="4267200"/>
                </a:ln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Grafik 21">
            <a:extLst>
              <a:ext uri="{FF2B5EF4-FFF2-40B4-BE49-F238E27FC236}">
                <a16:creationId xmlns:a16="http://schemas.microsoft.com/office/drawing/2014/main" id="{A16E221F-D827-687F-1AFC-BF17D3C424B9}"/>
              </a:ext>
            </a:extLst>
          </p:cNvPr>
          <p:cNvSpPr>
            <a:spLocks/>
          </p:cNvSpPr>
          <p:nvPr/>
        </p:nvSpPr>
        <p:spPr>
          <a:xfrm>
            <a:off x="2869221" y="2441910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3810000 w 4267200"/>
              <a:gd name="connsiteY5" fmla="*/ 4267200 h 4267200"/>
              <a:gd name="connsiteX6" fmla="*/ 4267200 w 4267200"/>
              <a:gd name="connsiteY6" fmla="*/ 3810000 h 4267200"/>
              <a:gd name="connsiteX7" fmla="*/ 4267200 w 4267200"/>
              <a:gd name="connsiteY7" fmla="*/ 457200 h 4267200"/>
              <a:gd name="connsiteX8" fmla="*/ 3810000 w 4267200"/>
              <a:gd name="connsiteY8" fmla="*/ 0 h 4267200"/>
              <a:gd name="connsiteX9" fmla="*/ 3344228 w 4267200"/>
              <a:gd name="connsiteY9" fmla="*/ 1512570 h 4267200"/>
              <a:gd name="connsiteX10" fmla="*/ 3346133 w 4267200"/>
              <a:gd name="connsiteY10" fmla="*/ 1593533 h 4267200"/>
              <a:gd name="connsiteX11" fmla="*/ 1568768 w 4267200"/>
              <a:gd name="connsiteY11" fmla="*/ 3370898 h 4267200"/>
              <a:gd name="connsiteX12" fmla="*/ 609600 w 4267200"/>
              <a:gd name="connsiteY12" fmla="*/ 3090863 h 4267200"/>
              <a:gd name="connsiteX13" fmla="*/ 760095 w 4267200"/>
              <a:gd name="connsiteY13" fmla="*/ 3098483 h 4267200"/>
              <a:gd name="connsiteX14" fmla="*/ 1535430 w 4267200"/>
              <a:gd name="connsiteY14" fmla="*/ 2831783 h 4267200"/>
              <a:gd name="connsiteX15" fmla="*/ 951548 w 4267200"/>
              <a:gd name="connsiteY15" fmla="*/ 2398395 h 4267200"/>
              <a:gd name="connsiteX16" fmla="*/ 1233488 w 4267200"/>
              <a:gd name="connsiteY16" fmla="*/ 2386965 h 4267200"/>
              <a:gd name="connsiteX17" fmla="*/ 733425 w 4267200"/>
              <a:gd name="connsiteY17" fmla="*/ 1773555 h 4267200"/>
              <a:gd name="connsiteX18" fmla="*/ 733425 w 4267200"/>
              <a:gd name="connsiteY18" fmla="*/ 1765935 h 4267200"/>
              <a:gd name="connsiteX19" fmla="*/ 1015365 w 4267200"/>
              <a:gd name="connsiteY19" fmla="*/ 1844993 h 4267200"/>
              <a:gd name="connsiteX20" fmla="*/ 737235 w 4267200"/>
              <a:gd name="connsiteY20" fmla="*/ 1324927 h 4267200"/>
              <a:gd name="connsiteX21" fmla="*/ 822008 w 4267200"/>
              <a:gd name="connsiteY21" fmla="*/ 1009650 h 4267200"/>
              <a:gd name="connsiteX22" fmla="*/ 2109788 w 4267200"/>
              <a:gd name="connsiteY22" fmla="*/ 1663065 h 4267200"/>
              <a:gd name="connsiteX23" fmla="*/ 2719388 w 4267200"/>
              <a:gd name="connsiteY23" fmla="*/ 895350 h 4267200"/>
              <a:gd name="connsiteX24" fmla="*/ 3175635 w 4267200"/>
              <a:gd name="connsiteY24" fmla="*/ 1092518 h 4267200"/>
              <a:gd name="connsiteX25" fmla="*/ 3571875 w 4267200"/>
              <a:gd name="connsiteY25" fmla="*/ 942022 h 4267200"/>
              <a:gd name="connsiteX26" fmla="*/ 3297555 w 4267200"/>
              <a:gd name="connsiteY26" fmla="*/ 1285875 h 4267200"/>
              <a:gd name="connsiteX27" fmla="*/ 3657600 w 4267200"/>
              <a:gd name="connsiteY27" fmla="*/ 1188720 h 4267200"/>
              <a:gd name="connsiteX28" fmla="*/ 3344228 w 4267200"/>
              <a:gd name="connsiteY28" fmla="*/ 151257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788" y="0"/>
                  <a:pt x="0" y="204788"/>
                  <a:pt x="0" y="457200"/>
                </a:cubicBezTo>
                <a:lnTo>
                  <a:pt x="0" y="3810000"/>
                </a:lnTo>
                <a:cubicBezTo>
                  <a:pt x="0" y="4062413"/>
                  <a:pt x="204788" y="4267200"/>
                  <a:pt x="457200" y="4267200"/>
                </a:cubicBezTo>
                <a:lnTo>
                  <a:pt x="3810000" y="4267200"/>
                </a:lnTo>
                <a:cubicBezTo>
                  <a:pt x="4062413" y="4267200"/>
                  <a:pt x="4267200" y="4062413"/>
                  <a:pt x="4267200" y="3810000"/>
                </a:cubicBezTo>
                <a:lnTo>
                  <a:pt x="4267200" y="457200"/>
                </a:lnTo>
                <a:cubicBezTo>
                  <a:pt x="4267200" y="204788"/>
                  <a:pt x="4062413" y="0"/>
                  <a:pt x="3810000" y="0"/>
                </a:cubicBezTo>
                <a:close/>
                <a:moveTo>
                  <a:pt x="3344228" y="1512570"/>
                </a:moveTo>
                <a:cubicBezTo>
                  <a:pt x="3346133" y="1539240"/>
                  <a:pt x="3346133" y="1566863"/>
                  <a:pt x="3346133" y="1593533"/>
                </a:cubicBezTo>
                <a:cubicBezTo>
                  <a:pt x="3346133" y="2419350"/>
                  <a:pt x="2717483" y="3370898"/>
                  <a:pt x="1568768" y="3370898"/>
                </a:cubicBezTo>
                <a:cubicBezTo>
                  <a:pt x="1214438" y="3370898"/>
                  <a:pt x="885825" y="3268028"/>
                  <a:pt x="609600" y="3090863"/>
                </a:cubicBezTo>
                <a:cubicBezTo>
                  <a:pt x="660083" y="3096578"/>
                  <a:pt x="708660" y="3098483"/>
                  <a:pt x="760095" y="3098483"/>
                </a:cubicBezTo>
                <a:cubicBezTo>
                  <a:pt x="1052513" y="3098483"/>
                  <a:pt x="1321118" y="2999423"/>
                  <a:pt x="1535430" y="2831783"/>
                </a:cubicBezTo>
                <a:cubicBezTo>
                  <a:pt x="1261110" y="2826068"/>
                  <a:pt x="1030605" y="2646045"/>
                  <a:pt x="951548" y="2398395"/>
                </a:cubicBezTo>
                <a:cubicBezTo>
                  <a:pt x="1047750" y="2412683"/>
                  <a:pt x="1134428" y="2412683"/>
                  <a:pt x="1233488" y="2386965"/>
                </a:cubicBezTo>
                <a:cubicBezTo>
                  <a:pt x="947738" y="2328863"/>
                  <a:pt x="733425" y="2077403"/>
                  <a:pt x="733425" y="1773555"/>
                </a:cubicBezTo>
                <a:lnTo>
                  <a:pt x="733425" y="1765935"/>
                </a:lnTo>
                <a:cubicBezTo>
                  <a:pt x="816293" y="1812608"/>
                  <a:pt x="913448" y="1841183"/>
                  <a:pt x="1015365" y="1844993"/>
                </a:cubicBezTo>
                <a:cubicBezTo>
                  <a:pt x="841329" y="1729229"/>
                  <a:pt x="736893" y="1533948"/>
                  <a:pt x="737235" y="1324927"/>
                </a:cubicBezTo>
                <a:cubicBezTo>
                  <a:pt x="737235" y="1208723"/>
                  <a:pt x="767715" y="1102043"/>
                  <a:pt x="822008" y="1009650"/>
                </a:cubicBezTo>
                <a:cubicBezTo>
                  <a:pt x="1129665" y="1388745"/>
                  <a:pt x="1591628" y="1636395"/>
                  <a:pt x="2109788" y="1663065"/>
                </a:cubicBezTo>
                <a:cubicBezTo>
                  <a:pt x="2021205" y="1239203"/>
                  <a:pt x="2338388" y="895350"/>
                  <a:pt x="2719388" y="895350"/>
                </a:cubicBezTo>
                <a:cubicBezTo>
                  <a:pt x="2899410" y="895350"/>
                  <a:pt x="3061335" y="970597"/>
                  <a:pt x="3175635" y="1092518"/>
                </a:cubicBezTo>
                <a:cubicBezTo>
                  <a:pt x="3316605" y="1065848"/>
                  <a:pt x="3451860" y="1013460"/>
                  <a:pt x="3571875" y="942022"/>
                </a:cubicBezTo>
                <a:cubicBezTo>
                  <a:pt x="3525203" y="1086803"/>
                  <a:pt x="3427095" y="1208723"/>
                  <a:pt x="3297555" y="1285875"/>
                </a:cubicBezTo>
                <a:cubicBezTo>
                  <a:pt x="3423285" y="1272540"/>
                  <a:pt x="3545205" y="1237298"/>
                  <a:pt x="3657600" y="1188720"/>
                </a:cubicBezTo>
                <a:cubicBezTo>
                  <a:pt x="3572828" y="1313498"/>
                  <a:pt x="3466148" y="1423988"/>
                  <a:pt x="3344228" y="151257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Grafik 27">
            <a:extLst>
              <a:ext uri="{FF2B5EF4-FFF2-40B4-BE49-F238E27FC236}">
                <a16:creationId xmlns:a16="http://schemas.microsoft.com/office/drawing/2014/main" id="{6ABC21AD-5C39-B507-C372-A09A67FD884D}"/>
              </a:ext>
            </a:extLst>
          </p:cNvPr>
          <p:cNvSpPr>
            <a:spLocks/>
          </p:cNvSpPr>
          <p:nvPr/>
        </p:nvSpPr>
        <p:spPr>
          <a:xfrm>
            <a:off x="2869221" y="2986336"/>
            <a:ext cx="216805" cy="216805"/>
          </a:xfrm>
          <a:custGeom>
            <a:avLst/>
            <a:gdLst>
              <a:gd name="connsiteX0" fmla="*/ 2133600 w 4267200"/>
              <a:gd name="connsiteY0" fmla="*/ 1625537 h 4267200"/>
              <a:gd name="connsiteX1" fmla="*/ 1625727 w 4267200"/>
              <a:gd name="connsiteY1" fmla="*/ 2133791 h 4267200"/>
              <a:gd name="connsiteX2" fmla="*/ 2133981 w 4267200"/>
              <a:gd name="connsiteY2" fmla="*/ 2641664 h 4267200"/>
              <a:gd name="connsiteX3" fmla="*/ 2641854 w 4267200"/>
              <a:gd name="connsiteY3" fmla="*/ 2133600 h 4267200"/>
              <a:gd name="connsiteX4" fmla="*/ 2133600 w 4267200"/>
              <a:gd name="connsiteY4" fmla="*/ 1625537 h 4267200"/>
              <a:gd name="connsiteX5" fmla="*/ 3321463 w 4267200"/>
              <a:gd name="connsiteY5" fmla="*/ 1235012 h 4267200"/>
              <a:gd name="connsiteX6" fmla="*/ 3031808 w 4267200"/>
              <a:gd name="connsiteY6" fmla="*/ 945356 h 4267200"/>
              <a:gd name="connsiteX7" fmla="*/ 2133600 w 4267200"/>
              <a:gd name="connsiteY7" fmla="*/ 884111 h 4267200"/>
              <a:gd name="connsiteX8" fmla="*/ 1235297 w 4267200"/>
              <a:gd name="connsiteY8" fmla="*/ 945356 h 4267200"/>
              <a:gd name="connsiteX9" fmla="*/ 945642 w 4267200"/>
              <a:gd name="connsiteY9" fmla="*/ 1235012 h 4267200"/>
              <a:gd name="connsiteX10" fmla="*/ 884396 w 4267200"/>
              <a:gd name="connsiteY10" fmla="*/ 2133505 h 4267200"/>
              <a:gd name="connsiteX11" fmla="*/ 946023 w 4267200"/>
              <a:gd name="connsiteY11" fmla="*/ 3032093 h 4267200"/>
              <a:gd name="connsiteX12" fmla="*/ 1235678 w 4267200"/>
              <a:gd name="connsiteY12" fmla="*/ 3321749 h 4267200"/>
              <a:gd name="connsiteX13" fmla="*/ 2133981 w 4267200"/>
              <a:gd name="connsiteY13" fmla="*/ 3382995 h 4267200"/>
              <a:gd name="connsiteX14" fmla="*/ 3032189 w 4267200"/>
              <a:gd name="connsiteY14" fmla="*/ 3321749 h 4267200"/>
              <a:gd name="connsiteX15" fmla="*/ 3321844 w 4267200"/>
              <a:gd name="connsiteY15" fmla="*/ 3032093 h 4267200"/>
              <a:gd name="connsiteX16" fmla="*/ 3383090 w 4267200"/>
              <a:gd name="connsiteY16" fmla="*/ 2133600 h 4267200"/>
              <a:gd name="connsiteX17" fmla="*/ 3321844 w 4267200"/>
              <a:gd name="connsiteY17" fmla="*/ 1235107 h 4267200"/>
              <a:gd name="connsiteX18" fmla="*/ 2133600 w 4267200"/>
              <a:gd name="connsiteY18" fmla="*/ 2914650 h 4267200"/>
              <a:gd name="connsiteX19" fmla="*/ 1352550 w 4267200"/>
              <a:gd name="connsiteY19" fmla="*/ 2133600 h 4267200"/>
              <a:gd name="connsiteX20" fmla="*/ 2133600 w 4267200"/>
              <a:gd name="connsiteY20" fmla="*/ 1352550 h 4267200"/>
              <a:gd name="connsiteX21" fmla="*/ 2914650 w 4267200"/>
              <a:gd name="connsiteY21" fmla="*/ 2133600 h 4267200"/>
              <a:gd name="connsiteX22" fmla="*/ 2135506 w 4267200"/>
              <a:gd name="connsiteY22" fmla="*/ 2914650 h 4267200"/>
              <a:gd name="connsiteX23" fmla="*/ 2133600 w 4267200"/>
              <a:gd name="connsiteY23" fmla="*/ 2914650 h 4267200"/>
              <a:gd name="connsiteX24" fmla="*/ 2946845 w 4267200"/>
              <a:gd name="connsiteY24" fmla="*/ 1502093 h 4267200"/>
              <a:gd name="connsiteX25" fmla="*/ 2764441 w 4267200"/>
              <a:gd name="connsiteY25" fmla="*/ 1319879 h 4267200"/>
              <a:gd name="connsiteX26" fmla="*/ 2946654 w 4267200"/>
              <a:gd name="connsiteY26" fmla="*/ 1137476 h 4267200"/>
              <a:gd name="connsiteX27" fmla="*/ 3129058 w 4267200"/>
              <a:gd name="connsiteY27" fmla="*/ 1319689 h 4267200"/>
              <a:gd name="connsiteX28" fmla="*/ 3129058 w 4267200"/>
              <a:gd name="connsiteY28" fmla="*/ 1319784 h 4267200"/>
              <a:gd name="connsiteX29" fmla="*/ 2947894 w 4267200"/>
              <a:gd name="connsiteY29" fmla="*/ 1502472 h 4267200"/>
              <a:gd name="connsiteX30" fmla="*/ 2947226 w 4267200"/>
              <a:gd name="connsiteY30" fmla="*/ 1502474 h 4267200"/>
              <a:gd name="connsiteX31" fmla="*/ 3810000 w 4267200"/>
              <a:gd name="connsiteY31" fmla="*/ 0 h 4267200"/>
              <a:gd name="connsiteX32" fmla="*/ 457200 w 4267200"/>
              <a:gd name="connsiteY32" fmla="*/ 0 h 4267200"/>
              <a:gd name="connsiteX33" fmla="*/ 0 w 4267200"/>
              <a:gd name="connsiteY33" fmla="*/ 457200 h 4267200"/>
              <a:gd name="connsiteX34" fmla="*/ 0 w 4267200"/>
              <a:gd name="connsiteY34" fmla="*/ 3810000 h 4267200"/>
              <a:gd name="connsiteX35" fmla="*/ 457200 w 4267200"/>
              <a:gd name="connsiteY35" fmla="*/ 4267200 h 4267200"/>
              <a:gd name="connsiteX36" fmla="*/ 3810000 w 4267200"/>
              <a:gd name="connsiteY36" fmla="*/ 4267200 h 4267200"/>
              <a:gd name="connsiteX37" fmla="*/ 4267200 w 4267200"/>
              <a:gd name="connsiteY37" fmla="*/ 3810000 h 4267200"/>
              <a:gd name="connsiteX38" fmla="*/ 4267200 w 4267200"/>
              <a:gd name="connsiteY38" fmla="*/ 457200 h 4267200"/>
              <a:gd name="connsiteX39" fmla="*/ 3810000 w 4267200"/>
              <a:gd name="connsiteY39" fmla="*/ 0 h 4267200"/>
              <a:gd name="connsiteX40" fmla="*/ 3646932 w 4267200"/>
              <a:gd name="connsiteY40" fmla="*/ 2762250 h 4267200"/>
              <a:gd name="connsiteX41" fmla="*/ 3400711 w 4267200"/>
              <a:gd name="connsiteY41" fmla="*/ 3400425 h 4267200"/>
              <a:gd name="connsiteX42" fmla="*/ 2762536 w 4267200"/>
              <a:gd name="connsiteY42" fmla="*/ 3646646 h 4267200"/>
              <a:gd name="connsiteX43" fmla="*/ 1505236 w 4267200"/>
              <a:gd name="connsiteY43" fmla="*/ 3646646 h 4267200"/>
              <a:gd name="connsiteX44" fmla="*/ 867061 w 4267200"/>
              <a:gd name="connsiteY44" fmla="*/ 3400425 h 4267200"/>
              <a:gd name="connsiteX45" fmla="*/ 620840 w 4267200"/>
              <a:gd name="connsiteY45" fmla="*/ 2762250 h 4267200"/>
              <a:gd name="connsiteX46" fmla="*/ 620840 w 4267200"/>
              <a:gd name="connsiteY46" fmla="*/ 1504950 h 4267200"/>
              <a:gd name="connsiteX47" fmla="*/ 867061 w 4267200"/>
              <a:gd name="connsiteY47" fmla="*/ 866775 h 4267200"/>
              <a:gd name="connsiteX48" fmla="*/ 1505236 w 4267200"/>
              <a:gd name="connsiteY48" fmla="*/ 621221 h 4267200"/>
              <a:gd name="connsiteX49" fmla="*/ 2762536 w 4267200"/>
              <a:gd name="connsiteY49" fmla="*/ 621221 h 4267200"/>
              <a:gd name="connsiteX50" fmla="*/ 3400711 w 4267200"/>
              <a:gd name="connsiteY50" fmla="*/ 867442 h 4267200"/>
              <a:gd name="connsiteX51" fmla="*/ 3646932 w 4267200"/>
              <a:gd name="connsiteY51" fmla="*/ 1506093 h 4267200"/>
              <a:gd name="connsiteX52" fmla="*/ 3646932 w 4267200"/>
              <a:gd name="connsiteY52" fmla="*/ 276225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267200" h="4267200">
                <a:moveTo>
                  <a:pt x="2133600" y="1625537"/>
                </a:moveTo>
                <a:cubicBezTo>
                  <a:pt x="1853004" y="1625642"/>
                  <a:pt x="1625622" y="1853195"/>
                  <a:pt x="1625727" y="2133791"/>
                </a:cubicBezTo>
                <a:cubicBezTo>
                  <a:pt x="1625832" y="2414386"/>
                  <a:pt x="1853385" y="2641769"/>
                  <a:pt x="2133981" y="2641664"/>
                </a:cubicBezTo>
                <a:cubicBezTo>
                  <a:pt x="2414502" y="2641558"/>
                  <a:pt x="2641854" y="2414121"/>
                  <a:pt x="2641854" y="2133600"/>
                </a:cubicBezTo>
                <a:cubicBezTo>
                  <a:pt x="2641644" y="1853017"/>
                  <a:pt x="2414183" y="1625642"/>
                  <a:pt x="2133600" y="1625537"/>
                </a:cubicBezTo>
                <a:close/>
                <a:moveTo>
                  <a:pt x="3321463" y="1235012"/>
                </a:moveTo>
                <a:cubicBezTo>
                  <a:pt x="3269182" y="1102519"/>
                  <a:pt x="3164300" y="997637"/>
                  <a:pt x="3031808" y="945356"/>
                </a:cubicBezTo>
                <a:cubicBezTo>
                  <a:pt x="2831783" y="866394"/>
                  <a:pt x="2355533" y="884111"/>
                  <a:pt x="2133600" y="884111"/>
                </a:cubicBezTo>
                <a:cubicBezTo>
                  <a:pt x="1911668" y="884111"/>
                  <a:pt x="1435894" y="865727"/>
                  <a:pt x="1235297" y="945356"/>
                </a:cubicBezTo>
                <a:cubicBezTo>
                  <a:pt x="1102804" y="997637"/>
                  <a:pt x="997923" y="1102519"/>
                  <a:pt x="945642" y="1235012"/>
                </a:cubicBezTo>
                <a:cubicBezTo>
                  <a:pt x="866775" y="1435037"/>
                  <a:pt x="884396" y="1911763"/>
                  <a:pt x="884396" y="2133505"/>
                </a:cubicBezTo>
                <a:cubicBezTo>
                  <a:pt x="884396" y="2355247"/>
                  <a:pt x="866775" y="2831402"/>
                  <a:pt x="946023" y="3032093"/>
                </a:cubicBezTo>
                <a:cubicBezTo>
                  <a:pt x="998304" y="3164586"/>
                  <a:pt x="1103185" y="3269467"/>
                  <a:pt x="1235678" y="3321749"/>
                </a:cubicBezTo>
                <a:cubicBezTo>
                  <a:pt x="1435703" y="3400711"/>
                  <a:pt x="1911953" y="3382995"/>
                  <a:pt x="2133981" y="3382995"/>
                </a:cubicBezTo>
                <a:cubicBezTo>
                  <a:pt x="2356009" y="3382995"/>
                  <a:pt x="2831592" y="3401378"/>
                  <a:pt x="3032189" y="3321749"/>
                </a:cubicBezTo>
                <a:cubicBezTo>
                  <a:pt x="3164681" y="3269467"/>
                  <a:pt x="3269563" y="3164586"/>
                  <a:pt x="3321844" y="3032093"/>
                </a:cubicBezTo>
                <a:cubicBezTo>
                  <a:pt x="3401378" y="2832068"/>
                  <a:pt x="3383090" y="2355342"/>
                  <a:pt x="3383090" y="2133600"/>
                </a:cubicBezTo>
                <a:cubicBezTo>
                  <a:pt x="3383090" y="1911858"/>
                  <a:pt x="3401378" y="1435799"/>
                  <a:pt x="3321844" y="1235107"/>
                </a:cubicBezTo>
                <a:close/>
                <a:moveTo>
                  <a:pt x="2133600" y="2914650"/>
                </a:moveTo>
                <a:cubicBezTo>
                  <a:pt x="1702238" y="2914650"/>
                  <a:pt x="1352550" y="2564962"/>
                  <a:pt x="1352550" y="2133600"/>
                </a:cubicBezTo>
                <a:cubicBezTo>
                  <a:pt x="1352550" y="1702238"/>
                  <a:pt x="1702238" y="1352550"/>
                  <a:pt x="2133600" y="1352550"/>
                </a:cubicBezTo>
                <a:cubicBezTo>
                  <a:pt x="2564962" y="1352550"/>
                  <a:pt x="2914650" y="1702238"/>
                  <a:pt x="2914650" y="2133600"/>
                </a:cubicBezTo>
                <a:cubicBezTo>
                  <a:pt x="2915177" y="2564436"/>
                  <a:pt x="2566342" y="2914124"/>
                  <a:pt x="2135506" y="2914650"/>
                </a:cubicBezTo>
                <a:cubicBezTo>
                  <a:pt x="2134871" y="2914651"/>
                  <a:pt x="2134236" y="2914651"/>
                  <a:pt x="2133600" y="2914650"/>
                </a:cubicBezTo>
                <a:close/>
                <a:moveTo>
                  <a:pt x="2946845" y="1502093"/>
                </a:moveTo>
                <a:cubicBezTo>
                  <a:pt x="2846158" y="1502145"/>
                  <a:pt x="2764494" y="1420566"/>
                  <a:pt x="2764441" y="1319879"/>
                </a:cubicBezTo>
                <a:cubicBezTo>
                  <a:pt x="2764388" y="1219193"/>
                  <a:pt x="2845968" y="1137528"/>
                  <a:pt x="2946654" y="1137476"/>
                </a:cubicBezTo>
                <a:cubicBezTo>
                  <a:pt x="3047341" y="1137423"/>
                  <a:pt x="3129005" y="1219003"/>
                  <a:pt x="3129058" y="1319689"/>
                </a:cubicBezTo>
                <a:cubicBezTo>
                  <a:pt x="3129058" y="1319721"/>
                  <a:pt x="3129058" y="1319752"/>
                  <a:pt x="3129058" y="1319784"/>
                </a:cubicBezTo>
                <a:cubicBezTo>
                  <a:pt x="3129479" y="1420259"/>
                  <a:pt x="3048369" y="1502051"/>
                  <a:pt x="2947894" y="1502472"/>
                </a:cubicBezTo>
                <a:cubicBezTo>
                  <a:pt x="2947671" y="1502473"/>
                  <a:pt x="2947448" y="1502473"/>
                  <a:pt x="2947226" y="1502474"/>
                </a:cubicBezTo>
                <a:close/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  <a:moveTo>
                  <a:pt x="3646932" y="2762250"/>
                </a:moveTo>
                <a:cubicBezTo>
                  <a:pt x="3634645" y="3006376"/>
                  <a:pt x="3578924" y="3222689"/>
                  <a:pt x="3400711" y="3400425"/>
                </a:cubicBezTo>
                <a:cubicBezTo>
                  <a:pt x="3222498" y="3578162"/>
                  <a:pt x="3006376" y="3635026"/>
                  <a:pt x="2762536" y="3646646"/>
                </a:cubicBezTo>
                <a:cubicBezTo>
                  <a:pt x="2510981" y="3660839"/>
                  <a:pt x="1756791" y="3660839"/>
                  <a:pt x="1505236" y="3646646"/>
                </a:cubicBezTo>
                <a:cubicBezTo>
                  <a:pt x="1261110" y="3634359"/>
                  <a:pt x="1045559" y="3578543"/>
                  <a:pt x="867061" y="3400425"/>
                </a:cubicBezTo>
                <a:cubicBezTo>
                  <a:pt x="688562" y="3222308"/>
                  <a:pt x="632460" y="3005899"/>
                  <a:pt x="620840" y="2762250"/>
                </a:cubicBezTo>
                <a:cubicBezTo>
                  <a:pt x="606647" y="2510599"/>
                  <a:pt x="606647" y="1756315"/>
                  <a:pt x="620840" y="1504950"/>
                </a:cubicBezTo>
                <a:cubicBezTo>
                  <a:pt x="633127" y="1260824"/>
                  <a:pt x="688181" y="1044512"/>
                  <a:pt x="867061" y="866775"/>
                </a:cubicBezTo>
                <a:cubicBezTo>
                  <a:pt x="1045940" y="689038"/>
                  <a:pt x="1262063" y="632841"/>
                  <a:pt x="1505236" y="621221"/>
                </a:cubicBezTo>
                <a:cubicBezTo>
                  <a:pt x="1756791" y="607028"/>
                  <a:pt x="2510981" y="607028"/>
                  <a:pt x="2762536" y="621221"/>
                </a:cubicBezTo>
                <a:cubicBezTo>
                  <a:pt x="3006662" y="633508"/>
                  <a:pt x="3222879" y="689324"/>
                  <a:pt x="3400711" y="867442"/>
                </a:cubicBezTo>
                <a:cubicBezTo>
                  <a:pt x="3578543" y="1045559"/>
                  <a:pt x="3635312" y="1261967"/>
                  <a:pt x="3646932" y="1506093"/>
                </a:cubicBezTo>
                <a:cubicBezTo>
                  <a:pt x="3661124" y="1756791"/>
                  <a:pt x="3661124" y="2510409"/>
                  <a:pt x="3646932" y="276225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12" name="Gruppieren 33">
            <a:extLst>
              <a:ext uri="{FF2B5EF4-FFF2-40B4-BE49-F238E27FC236}">
                <a16:creationId xmlns:a16="http://schemas.microsoft.com/office/drawing/2014/main" id="{E5C9AD29-E7F8-ACA4-D099-6392C5B0E1A4}"/>
              </a:ext>
            </a:extLst>
          </p:cNvPr>
          <p:cNvGrpSpPr>
            <a:grpSpLocks/>
          </p:cNvGrpSpPr>
          <p:nvPr/>
        </p:nvGrpSpPr>
        <p:grpSpPr>
          <a:xfrm>
            <a:off x="3203009" y="2457980"/>
            <a:ext cx="2243792" cy="1001302"/>
            <a:chOff x="3203008" y="2315105"/>
            <a:chExt cx="2577579" cy="1001302"/>
          </a:xfrm>
        </p:grpSpPr>
        <p:sp>
          <p:nvSpPr>
            <p:cNvPr id="13" name="Copy contact 2">
              <a:extLst>
                <a:ext uri="{FF2B5EF4-FFF2-40B4-BE49-F238E27FC236}">
                  <a16:creationId xmlns:a16="http://schemas.microsoft.com/office/drawing/2014/main" id="{C39C0A26-08AB-675E-8E88-72CC0FFA6E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315105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wechat}</a:t>
              </a:r>
            </a:p>
          </p:txBody>
        </p:sp>
        <p:sp>
          <p:nvSpPr>
            <p:cNvPr id="14" name="Copy contact 2">
              <a:extLst>
                <a:ext uri="{FF2B5EF4-FFF2-40B4-BE49-F238E27FC236}">
                  <a16:creationId xmlns:a16="http://schemas.microsoft.com/office/drawing/2014/main" id="{BF325621-78C4-BCC5-F448-C5E9A59B09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587317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phone_number}</a:t>
              </a:r>
            </a:p>
          </p:txBody>
        </p:sp>
        <p:sp>
          <p:nvSpPr>
            <p:cNvPr id="15" name="Copy contact 2">
              <a:extLst>
                <a:ext uri="{FF2B5EF4-FFF2-40B4-BE49-F238E27FC236}">
                  <a16:creationId xmlns:a16="http://schemas.microsoft.com/office/drawing/2014/main" id="{AD044387-DC3B-1C54-3F7B-F16EA2D9D1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859529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mobile_number}</a:t>
              </a:r>
            </a:p>
          </p:txBody>
        </p:sp>
        <p:sp>
          <p:nvSpPr>
            <p:cNvPr id="16" name="Copy contact 2">
              <a:extLst>
                <a:ext uri="{FF2B5EF4-FFF2-40B4-BE49-F238E27FC236}">
                  <a16:creationId xmlns:a16="http://schemas.microsoft.com/office/drawing/2014/main" id="{110DC19D-16AA-F0C9-79A1-685A59572A3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3131741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1_facebook}</a:t>
              </a:r>
            </a:p>
          </p:txBody>
        </p:sp>
      </p:grp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C83B980E-BDDE-6F05-7AD9-9176A5276A7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9305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members, intro, intros, introduction, introductions</a:t>
            </a:r>
          </a:p>
        </p:txBody>
      </p:sp>
      <p:sp>
        <p:nvSpPr>
          <p:cNvPr id="56" name="Copy contact 1">
            <a:extLst>
              <a:ext uri="{FF2B5EF4-FFF2-40B4-BE49-F238E27FC236}">
                <a16:creationId xmlns:a16="http://schemas.microsoft.com/office/drawing/2014/main" id="{4A38A629-0C31-41A8-BE8A-088043E6FBE7}"/>
              </a:ext>
            </a:extLst>
          </p:cNvPr>
          <p:cNvSpPr>
            <a:spLocks/>
          </p:cNvSpPr>
          <p:nvPr/>
        </p:nvSpPr>
        <p:spPr bwMode="gray">
          <a:xfrm>
            <a:off x="8482393" y="4105417"/>
            <a:ext cx="2577579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4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4_position}</a:t>
            </a:r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2301E700-EDBD-4449-8DC6-601B7DC53861}"/>
              </a:ext>
            </a:extLst>
          </p:cNvPr>
          <p:cNvSpPr>
            <a:spLocks/>
          </p:cNvSpPr>
          <p:nvPr/>
        </p:nvSpPr>
        <p:spPr bwMode="auto">
          <a:xfrm>
            <a:off x="6032271" y="4105417"/>
            <a:ext cx="2160000" cy="2160000"/>
          </a:xfrm>
          <a:prstGeom prst="teardrop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58" name="Grafik 5">
            <a:extLst>
              <a:ext uri="{FF2B5EF4-FFF2-40B4-BE49-F238E27FC236}">
                <a16:creationId xmlns:a16="http://schemas.microsoft.com/office/drawing/2014/main" id="{57DF72F1-FC57-4154-90FF-4DF105FCE1E2}"/>
              </a:ext>
            </a:extLst>
          </p:cNvPr>
          <p:cNvSpPr>
            <a:spLocks/>
          </p:cNvSpPr>
          <p:nvPr/>
        </p:nvSpPr>
        <p:spPr>
          <a:xfrm>
            <a:off x="8482393" y="5257017"/>
            <a:ext cx="216805" cy="216805"/>
          </a:xfrm>
          <a:custGeom>
            <a:avLst/>
            <a:gdLst>
              <a:gd name="connsiteX0" fmla="*/ 3962400 w 4267200"/>
              <a:gd name="connsiteY0" fmla="*/ 0 h 4267200"/>
              <a:gd name="connsiteX1" fmla="*/ 303848 w 4267200"/>
              <a:gd name="connsiteY1" fmla="*/ 0 h 4267200"/>
              <a:gd name="connsiteX2" fmla="*/ 0 w 4267200"/>
              <a:gd name="connsiteY2" fmla="*/ 307658 h 4267200"/>
              <a:gd name="connsiteX3" fmla="*/ 0 w 4267200"/>
              <a:gd name="connsiteY3" fmla="*/ 3959543 h 4267200"/>
              <a:gd name="connsiteX4" fmla="*/ 303848 w 4267200"/>
              <a:gd name="connsiteY4" fmla="*/ 4267200 h 4267200"/>
              <a:gd name="connsiteX5" fmla="*/ 3962400 w 4267200"/>
              <a:gd name="connsiteY5" fmla="*/ 4267200 h 4267200"/>
              <a:gd name="connsiteX6" fmla="*/ 4267200 w 4267200"/>
              <a:gd name="connsiteY6" fmla="*/ 3959543 h 4267200"/>
              <a:gd name="connsiteX7" fmla="*/ 4267200 w 4267200"/>
              <a:gd name="connsiteY7" fmla="*/ 307658 h 4267200"/>
              <a:gd name="connsiteX8" fmla="*/ 3962400 w 4267200"/>
              <a:gd name="connsiteY8" fmla="*/ 0 h 4267200"/>
              <a:gd name="connsiteX9" fmla="*/ 1289685 w 4267200"/>
              <a:gd name="connsiteY9" fmla="*/ 3657600 h 4267200"/>
              <a:gd name="connsiteX10" fmla="*/ 657225 w 4267200"/>
              <a:gd name="connsiteY10" fmla="*/ 3657600 h 4267200"/>
              <a:gd name="connsiteX11" fmla="*/ 657225 w 4267200"/>
              <a:gd name="connsiteY11" fmla="*/ 1621155 h 4267200"/>
              <a:gd name="connsiteX12" fmla="*/ 1290638 w 4267200"/>
              <a:gd name="connsiteY12" fmla="*/ 1621155 h 4267200"/>
              <a:gd name="connsiteX13" fmla="*/ 1290638 w 4267200"/>
              <a:gd name="connsiteY13" fmla="*/ 3657600 h 4267200"/>
              <a:gd name="connsiteX14" fmla="*/ 973455 w 4267200"/>
              <a:gd name="connsiteY14" fmla="*/ 1343025 h 4267200"/>
              <a:gd name="connsiteX15" fmla="*/ 606743 w 4267200"/>
              <a:gd name="connsiteY15" fmla="*/ 976313 h 4267200"/>
              <a:gd name="connsiteX16" fmla="*/ 973455 w 4267200"/>
              <a:gd name="connsiteY16" fmla="*/ 609600 h 4267200"/>
              <a:gd name="connsiteX17" fmla="*/ 1340168 w 4267200"/>
              <a:gd name="connsiteY17" fmla="*/ 976313 h 4267200"/>
              <a:gd name="connsiteX18" fmla="*/ 973455 w 4267200"/>
              <a:gd name="connsiteY18" fmla="*/ 1343025 h 4267200"/>
              <a:gd name="connsiteX19" fmla="*/ 3660458 w 4267200"/>
              <a:gd name="connsiteY19" fmla="*/ 3657600 h 4267200"/>
              <a:gd name="connsiteX20" fmla="*/ 3027998 w 4267200"/>
              <a:gd name="connsiteY20" fmla="*/ 3657600 h 4267200"/>
              <a:gd name="connsiteX21" fmla="*/ 3027998 w 4267200"/>
              <a:gd name="connsiteY21" fmla="*/ 2667000 h 4267200"/>
              <a:gd name="connsiteX22" fmla="*/ 2699385 w 4267200"/>
              <a:gd name="connsiteY22" fmla="*/ 2126933 h 4267200"/>
              <a:gd name="connsiteX23" fmla="*/ 2319338 w 4267200"/>
              <a:gd name="connsiteY23" fmla="*/ 2649855 h 4267200"/>
              <a:gd name="connsiteX24" fmla="*/ 2319338 w 4267200"/>
              <a:gd name="connsiteY24" fmla="*/ 3657600 h 4267200"/>
              <a:gd name="connsiteX25" fmla="*/ 1686878 w 4267200"/>
              <a:gd name="connsiteY25" fmla="*/ 3657600 h 4267200"/>
              <a:gd name="connsiteX26" fmla="*/ 1686878 w 4267200"/>
              <a:gd name="connsiteY26" fmla="*/ 1621155 h 4267200"/>
              <a:gd name="connsiteX27" fmla="*/ 2293620 w 4267200"/>
              <a:gd name="connsiteY27" fmla="*/ 1621155 h 4267200"/>
              <a:gd name="connsiteX28" fmla="*/ 2293620 w 4267200"/>
              <a:gd name="connsiteY28" fmla="*/ 1899285 h 4267200"/>
              <a:gd name="connsiteX29" fmla="*/ 2302193 w 4267200"/>
              <a:gd name="connsiteY29" fmla="*/ 1899285 h 4267200"/>
              <a:gd name="connsiteX30" fmla="*/ 2901315 w 4267200"/>
              <a:gd name="connsiteY30" fmla="*/ 1570673 h 4267200"/>
              <a:gd name="connsiteX31" fmla="*/ 3660458 w 4267200"/>
              <a:gd name="connsiteY31" fmla="*/ 2541270 h 4267200"/>
              <a:gd name="connsiteX32" fmla="*/ 3660458 w 4267200"/>
              <a:gd name="connsiteY32" fmla="*/ 36576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267200" h="4267200">
                <a:moveTo>
                  <a:pt x="3962400" y="0"/>
                </a:moveTo>
                <a:lnTo>
                  <a:pt x="303848" y="0"/>
                </a:lnTo>
                <a:cubicBezTo>
                  <a:pt x="136208" y="0"/>
                  <a:pt x="0" y="138113"/>
                  <a:pt x="0" y="307658"/>
                </a:cubicBezTo>
                <a:lnTo>
                  <a:pt x="0" y="3959543"/>
                </a:lnTo>
                <a:cubicBezTo>
                  <a:pt x="0" y="4129088"/>
                  <a:pt x="136208" y="4267200"/>
                  <a:pt x="303848" y="4267200"/>
                </a:cubicBezTo>
                <a:lnTo>
                  <a:pt x="3962400" y="4267200"/>
                </a:lnTo>
                <a:cubicBezTo>
                  <a:pt x="4130040" y="4267200"/>
                  <a:pt x="4267200" y="4129088"/>
                  <a:pt x="4267200" y="3959543"/>
                </a:cubicBezTo>
                <a:lnTo>
                  <a:pt x="4267200" y="307658"/>
                </a:lnTo>
                <a:cubicBezTo>
                  <a:pt x="4267200" y="138113"/>
                  <a:pt x="4130040" y="0"/>
                  <a:pt x="3962400" y="0"/>
                </a:cubicBezTo>
                <a:close/>
                <a:moveTo>
                  <a:pt x="1289685" y="3657600"/>
                </a:moveTo>
                <a:lnTo>
                  <a:pt x="657225" y="3657600"/>
                </a:lnTo>
                <a:lnTo>
                  <a:pt x="657225" y="1621155"/>
                </a:lnTo>
                <a:lnTo>
                  <a:pt x="1290638" y="1621155"/>
                </a:lnTo>
                <a:lnTo>
                  <a:pt x="1290638" y="3657600"/>
                </a:lnTo>
                <a:close/>
                <a:moveTo>
                  <a:pt x="973455" y="1343025"/>
                </a:moveTo>
                <a:cubicBezTo>
                  <a:pt x="770573" y="1343025"/>
                  <a:pt x="606743" y="1178243"/>
                  <a:pt x="606743" y="976313"/>
                </a:cubicBezTo>
                <a:cubicBezTo>
                  <a:pt x="606743" y="774383"/>
                  <a:pt x="770573" y="609600"/>
                  <a:pt x="973455" y="609600"/>
                </a:cubicBezTo>
                <a:cubicBezTo>
                  <a:pt x="1175385" y="609600"/>
                  <a:pt x="1340168" y="774383"/>
                  <a:pt x="1340168" y="976313"/>
                </a:cubicBezTo>
                <a:cubicBezTo>
                  <a:pt x="1340168" y="1179195"/>
                  <a:pt x="1176338" y="1343025"/>
                  <a:pt x="973455" y="1343025"/>
                </a:cubicBezTo>
                <a:close/>
                <a:moveTo>
                  <a:pt x="3660458" y="3657600"/>
                </a:moveTo>
                <a:lnTo>
                  <a:pt x="3027998" y="3657600"/>
                </a:lnTo>
                <a:lnTo>
                  <a:pt x="3027998" y="2667000"/>
                </a:lnTo>
                <a:cubicBezTo>
                  <a:pt x="3027998" y="2430780"/>
                  <a:pt x="3023235" y="2126933"/>
                  <a:pt x="2699385" y="2126933"/>
                </a:cubicBezTo>
                <a:cubicBezTo>
                  <a:pt x="2369820" y="2126933"/>
                  <a:pt x="2319338" y="2384108"/>
                  <a:pt x="2319338" y="2649855"/>
                </a:cubicBezTo>
                <a:lnTo>
                  <a:pt x="2319338" y="3657600"/>
                </a:lnTo>
                <a:lnTo>
                  <a:pt x="1686878" y="3657600"/>
                </a:lnTo>
                <a:lnTo>
                  <a:pt x="1686878" y="1621155"/>
                </a:lnTo>
                <a:lnTo>
                  <a:pt x="2293620" y="1621155"/>
                </a:lnTo>
                <a:lnTo>
                  <a:pt x="2293620" y="1899285"/>
                </a:lnTo>
                <a:lnTo>
                  <a:pt x="2302193" y="1899285"/>
                </a:lnTo>
                <a:cubicBezTo>
                  <a:pt x="2386965" y="1739265"/>
                  <a:pt x="2593658" y="1570673"/>
                  <a:pt x="2901315" y="1570673"/>
                </a:cubicBezTo>
                <a:cubicBezTo>
                  <a:pt x="3541395" y="1570673"/>
                  <a:pt x="3660458" y="1992630"/>
                  <a:pt x="3660458" y="2541270"/>
                </a:cubicBezTo>
                <a:lnTo>
                  <a:pt x="3660458" y="3657600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9" name="Grafik 18">
            <a:extLst>
              <a:ext uri="{FF2B5EF4-FFF2-40B4-BE49-F238E27FC236}">
                <a16:creationId xmlns:a16="http://schemas.microsoft.com/office/drawing/2014/main" id="{240B05E4-9366-419F-BD4E-A7C96CBF28BC}"/>
              </a:ext>
            </a:extLst>
          </p:cNvPr>
          <p:cNvSpPr>
            <a:spLocks/>
          </p:cNvSpPr>
          <p:nvPr/>
        </p:nvSpPr>
        <p:spPr>
          <a:xfrm>
            <a:off x="8482393" y="5801444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1764506 w 4267200"/>
              <a:gd name="connsiteY5" fmla="*/ 4267200 h 4267200"/>
              <a:gd name="connsiteX6" fmla="*/ 1764506 w 4267200"/>
              <a:gd name="connsiteY6" fmla="*/ 2816447 h 4267200"/>
              <a:gd name="connsiteX7" fmla="*/ 1164431 w 4267200"/>
              <a:gd name="connsiteY7" fmla="*/ 2816447 h 4267200"/>
              <a:gd name="connsiteX8" fmla="*/ 1164431 w 4267200"/>
              <a:gd name="connsiteY8" fmla="*/ 2133600 h 4267200"/>
              <a:gd name="connsiteX9" fmla="*/ 1764506 w 4267200"/>
              <a:gd name="connsiteY9" fmla="*/ 2133600 h 4267200"/>
              <a:gd name="connsiteX10" fmla="*/ 1764506 w 4267200"/>
              <a:gd name="connsiteY10" fmla="*/ 1613154 h 4267200"/>
              <a:gd name="connsiteX11" fmla="*/ 2656713 w 4267200"/>
              <a:gd name="connsiteY11" fmla="*/ 694182 h 4267200"/>
              <a:gd name="connsiteX12" fmla="*/ 3185541 w 4267200"/>
              <a:gd name="connsiteY12" fmla="*/ 740283 h 4267200"/>
              <a:gd name="connsiteX13" fmla="*/ 3185541 w 4267200"/>
              <a:gd name="connsiteY13" fmla="*/ 1321308 h 4267200"/>
              <a:gd name="connsiteX14" fmla="*/ 2887695 w 4267200"/>
              <a:gd name="connsiteY14" fmla="*/ 1321308 h 4267200"/>
              <a:gd name="connsiteX15" fmla="*/ 2502694 w 4267200"/>
              <a:gd name="connsiteY15" fmla="*/ 1690211 h 4267200"/>
              <a:gd name="connsiteX16" fmla="*/ 2502694 w 4267200"/>
              <a:gd name="connsiteY16" fmla="*/ 2133600 h 4267200"/>
              <a:gd name="connsiteX17" fmla="*/ 3157823 w 4267200"/>
              <a:gd name="connsiteY17" fmla="*/ 2133600 h 4267200"/>
              <a:gd name="connsiteX18" fmla="*/ 3053048 w 4267200"/>
              <a:gd name="connsiteY18" fmla="*/ 2816447 h 4267200"/>
              <a:gd name="connsiteX19" fmla="*/ 2502694 w 4267200"/>
              <a:gd name="connsiteY19" fmla="*/ 2816447 h 4267200"/>
              <a:gd name="connsiteX20" fmla="*/ 2502694 w 4267200"/>
              <a:gd name="connsiteY20" fmla="*/ 4267200 h 4267200"/>
              <a:gd name="connsiteX21" fmla="*/ 3810000 w 4267200"/>
              <a:gd name="connsiteY21" fmla="*/ 4267200 h 4267200"/>
              <a:gd name="connsiteX22" fmla="*/ 4267200 w 4267200"/>
              <a:gd name="connsiteY22" fmla="*/ 3810000 h 4267200"/>
              <a:gd name="connsiteX23" fmla="*/ 4267200 w 4267200"/>
              <a:gd name="connsiteY23" fmla="*/ 457200 h 4267200"/>
              <a:gd name="connsiteX24" fmla="*/ 3810000 w 4267200"/>
              <a:gd name="connsiteY24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1764506" y="4267200"/>
                </a:lnTo>
                <a:lnTo>
                  <a:pt x="1764506" y="2816447"/>
                </a:lnTo>
                <a:lnTo>
                  <a:pt x="1164431" y="2816447"/>
                </a:lnTo>
                <a:lnTo>
                  <a:pt x="1164431" y="2133600"/>
                </a:lnTo>
                <a:lnTo>
                  <a:pt x="1764506" y="2133600"/>
                </a:lnTo>
                <a:lnTo>
                  <a:pt x="1764506" y="1613154"/>
                </a:lnTo>
                <a:cubicBezTo>
                  <a:pt x="1764506" y="1021175"/>
                  <a:pt x="2116931" y="694182"/>
                  <a:pt x="2656713" y="694182"/>
                </a:cubicBezTo>
                <a:cubicBezTo>
                  <a:pt x="2915222" y="694182"/>
                  <a:pt x="3185541" y="740283"/>
                  <a:pt x="3185541" y="740283"/>
                </a:cubicBezTo>
                <a:lnTo>
                  <a:pt x="3185541" y="1321308"/>
                </a:lnTo>
                <a:lnTo>
                  <a:pt x="2887695" y="1321308"/>
                </a:lnTo>
                <a:cubicBezTo>
                  <a:pt x="2594229" y="1321308"/>
                  <a:pt x="2502694" y="1503426"/>
                  <a:pt x="2502694" y="1690211"/>
                </a:cubicBezTo>
                <a:lnTo>
                  <a:pt x="2502694" y="2133600"/>
                </a:lnTo>
                <a:lnTo>
                  <a:pt x="3157823" y="2133600"/>
                </a:lnTo>
                <a:lnTo>
                  <a:pt x="3053048" y="2816447"/>
                </a:lnTo>
                <a:lnTo>
                  <a:pt x="2502694" y="2816447"/>
                </a:lnTo>
                <a:lnTo>
                  <a:pt x="2502694" y="4267200"/>
                </a:ln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Grafik 21">
            <a:extLst>
              <a:ext uri="{FF2B5EF4-FFF2-40B4-BE49-F238E27FC236}">
                <a16:creationId xmlns:a16="http://schemas.microsoft.com/office/drawing/2014/main" id="{C74E7DEC-DA4D-446F-9EC1-0F5C0AD259BF}"/>
              </a:ext>
            </a:extLst>
          </p:cNvPr>
          <p:cNvSpPr>
            <a:spLocks/>
          </p:cNvSpPr>
          <p:nvPr/>
        </p:nvSpPr>
        <p:spPr>
          <a:xfrm>
            <a:off x="8482393" y="4984804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3810000 w 4267200"/>
              <a:gd name="connsiteY5" fmla="*/ 4267200 h 4267200"/>
              <a:gd name="connsiteX6" fmla="*/ 4267200 w 4267200"/>
              <a:gd name="connsiteY6" fmla="*/ 3810000 h 4267200"/>
              <a:gd name="connsiteX7" fmla="*/ 4267200 w 4267200"/>
              <a:gd name="connsiteY7" fmla="*/ 457200 h 4267200"/>
              <a:gd name="connsiteX8" fmla="*/ 3810000 w 4267200"/>
              <a:gd name="connsiteY8" fmla="*/ 0 h 4267200"/>
              <a:gd name="connsiteX9" fmla="*/ 3344228 w 4267200"/>
              <a:gd name="connsiteY9" fmla="*/ 1512570 h 4267200"/>
              <a:gd name="connsiteX10" fmla="*/ 3346133 w 4267200"/>
              <a:gd name="connsiteY10" fmla="*/ 1593533 h 4267200"/>
              <a:gd name="connsiteX11" fmla="*/ 1568768 w 4267200"/>
              <a:gd name="connsiteY11" fmla="*/ 3370898 h 4267200"/>
              <a:gd name="connsiteX12" fmla="*/ 609600 w 4267200"/>
              <a:gd name="connsiteY12" fmla="*/ 3090863 h 4267200"/>
              <a:gd name="connsiteX13" fmla="*/ 760095 w 4267200"/>
              <a:gd name="connsiteY13" fmla="*/ 3098483 h 4267200"/>
              <a:gd name="connsiteX14" fmla="*/ 1535430 w 4267200"/>
              <a:gd name="connsiteY14" fmla="*/ 2831783 h 4267200"/>
              <a:gd name="connsiteX15" fmla="*/ 951548 w 4267200"/>
              <a:gd name="connsiteY15" fmla="*/ 2398395 h 4267200"/>
              <a:gd name="connsiteX16" fmla="*/ 1233488 w 4267200"/>
              <a:gd name="connsiteY16" fmla="*/ 2386965 h 4267200"/>
              <a:gd name="connsiteX17" fmla="*/ 733425 w 4267200"/>
              <a:gd name="connsiteY17" fmla="*/ 1773555 h 4267200"/>
              <a:gd name="connsiteX18" fmla="*/ 733425 w 4267200"/>
              <a:gd name="connsiteY18" fmla="*/ 1765935 h 4267200"/>
              <a:gd name="connsiteX19" fmla="*/ 1015365 w 4267200"/>
              <a:gd name="connsiteY19" fmla="*/ 1844993 h 4267200"/>
              <a:gd name="connsiteX20" fmla="*/ 737235 w 4267200"/>
              <a:gd name="connsiteY20" fmla="*/ 1324927 h 4267200"/>
              <a:gd name="connsiteX21" fmla="*/ 822008 w 4267200"/>
              <a:gd name="connsiteY21" fmla="*/ 1009650 h 4267200"/>
              <a:gd name="connsiteX22" fmla="*/ 2109788 w 4267200"/>
              <a:gd name="connsiteY22" fmla="*/ 1663065 h 4267200"/>
              <a:gd name="connsiteX23" fmla="*/ 2719388 w 4267200"/>
              <a:gd name="connsiteY23" fmla="*/ 895350 h 4267200"/>
              <a:gd name="connsiteX24" fmla="*/ 3175635 w 4267200"/>
              <a:gd name="connsiteY24" fmla="*/ 1092518 h 4267200"/>
              <a:gd name="connsiteX25" fmla="*/ 3571875 w 4267200"/>
              <a:gd name="connsiteY25" fmla="*/ 942022 h 4267200"/>
              <a:gd name="connsiteX26" fmla="*/ 3297555 w 4267200"/>
              <a:gd name="connsiteY26" fmla="*/ 1285875 h 4267200"/>
              <a:gd name="connsiteX27" fmla="*/ 3657600 w 4267200"/>
              <a:gd name="connsiteY27" fmla="*/ 1188720 h 4267200"/>
              <a:gd name="connsiteX28" fmla="*/ 3344228 w 4267200"/>
              <a:gd name="connsiteY28" fmla="*/ 151257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788" y="0"/>
                  <a:pt x="0" y="204788"/>
                  <a:pt x="0" y="457200"/>
                </a:cubicBezTo>
                <a:lnTo>
                  <a:pt x="0" y="3810000"/>
                </a:lnTo>
                <a:cubicBezTo>
                  <a:pt x="0" y="4062413"/>
                  <a:pt x="204788" y="4267200"/>
                  <a:pt x="457200" y="4267200"/>
                </a:cubicBezTo>
                <a:lnTo>
                  <a:pt x="3810000" y="4267200"/>
                </a:lnTo>
                <a:cubicBezTo>
                  <a:pt x="4062413" y="4267200"/>
                  <a:pt x="4267200" y="4062413"/>
                  <a:pt x="4267200" y="3810000"/>
                </a:cubicBezTo>
                <a:lnTo>
                  <a:pt x="4267200" y="457200"/>
                </a:lnTo>
                <a:cubicBezTo>
                  <a:pt x="4267200" y="204788"/>
                  <a:pt x="4062413" y="0"/>
                  <a:pt x="3810000" y="0"/>
                </a:cubicBezTo>
                <a:close/>
                <a:moveTo>
                  <a:pt x="3344228" y="1512570"/>
                </a:moveTo>
                <a:cubicBezTo>
                  <a:pt x="3346133" y="1539240"/>
                  <a:pt x="3346133" y="1566863"/>
                  <a:pt x="3346133" y="1593533"/>
                </a:cubicBezTo>
                <a:cubicBezTo>
                  <a:pt x="3346133" y="2419350"/>
                  <a:pt x="2717483" y="3370898"/>
                  <a:pt x="1568768" y="3370898"/>
                </a:cubicBezTo>
                <a:cubicBezTo>
                  <a:pt x="1214438" y="3370898"/>
                  <a:pt x="885825" y="3268028"/>
                  <a:pt x="609600" y="3090863"/>
                </a:cubicBezTo>
                <a:cubicBezTo>
                  <a:pt x="660083" y="3096578"/>
                  <a:pt x="708660" y="3098483"/>
                  <a:pt x="760095" y="3098483"/>
                </a:cubicBezTo>
                <a:cubicBezTo>
                  <a:pt x="1052513" y="3098483"/>
                  <a:pt x="1321118" y="2999423"/>
                  <a:pt x="1535430" y="2831783"/>
                </a:cubicBezTo>
                <a:cubicBezTo>
                  <a:pt x="1261110" y="2826068"/>
                  <a:pt x="1030605" y="2646045"/>
                  <a:pt x="951548" y="2398395"/>
                </a:cubicBezTo>
                <a:cubicBezTo>
                  <a:pt x="1047750" y="2412683"/>
                  <a:pt x="1134428" y="2412683"/>
                  <a:pt x="1233488" y="2386965"/>
                </a:cubicBezTo>
                <a:cubicBezTo>
                  <a:pt x="947738" y="2328863"/>
                  <a:pt x="733425" y="2077403"/>
                  <a:pt x="733425" y="1773555"/>
                </a:cubicBezTo>
                <a:lnTo>
                  <a:pt x="733425" y="1765935"/>
                </a:lnTo>
                <a:cubicBezTo>
                  <a:pt x="816293" y="1812608"/>
                  <a:pt x="913448" y="1841183"/>
                  <a:pt x="1015365" y="1844993"/>
                </a:cubicBezTo>
                <a:cubicBezTo>
                  <a:pt x="841329" y="1729229"/>
                  <a:pt x="736893" y="1533948"/>
                  <a:pt x="737235" y="1324927"/>
                </a:cubicBezTo>
                <a:cubicBezTo>
                  <a:pt x="737235" y="1208723"/>
                  <a:pt x="767715" y="1102043"/>
                  <a:pt x="822008" y="1009650"/>
                </a:cubicBezTo>
                <a:cubicBezTo>
                  <a:pt x="1129665" y="1388745"/>
                  <a:pt x="1591628" y="1636395"/>
                  <a:pt x="2109788" y="1663065"/>
                </a:cubicBezTo>
                <a:cubicBezTo>
                  <a:pt x="2021205" y="1239203"/>
                  <a:pt x="2338388" y="895350"/>
                  <a:pt x="2719388" y="895350"/>
                </a:cubicBezTo>
                <a:cubicBezTo>
                  <a:pt x="2899410" y="895350"/>
                  <a:pt x="3061335" y="970597"/>
                  <a:pt x="3175635" y="1092518"/>
                </a:cubicBezTo>
                <a:cubicBezTo>
                  <a:pt x="3316605" y="1065848"/>
                  <a:pt x="3451860" y="1013460"/>
                  <a:pt x="3571875" y="942022"/>
                </a:cubicBezTo>
                <a:cubicBezTo>
                  <a:pt x="3525203" y="1086803"/>
                  <a:pt x="3427095" y="1208723"/>
                  <a:pt x="3297555" y="1285875"/>
                </a:cubicBezTo>
                <a:cubicBezTo>
                  <a:pt x="3423285" y="1272540"/>
                  <a:pt x="3545205" y="1237298"/>
                  <a:pt x="3657600" y="1188720"/>
                </a:cubicBezTo>
                <a:cubicBezTo>
                  <a:pt x="3572828" y="1313498"/>
                  <a:pt x="3466148" y="1423988"/>
                  <a:pt x="3344228" y="151257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1" name="Grafik 27">
            <a:extLst>
              <a:ext uri="{FF2B5EF4-FFF2-40B4-BE49-F238E27FC236}">
                <a16:creationId xmlns:a16="http://schemas.microsoft.com/office/drawing/2014/main" id="{485D4D59-C94A-4F83-9E48-F97FB0ECEC42}"/>
              </a:ext>
            </a:extLst>
          </p:cNvPr>
          <p:cNvSpPr>
            <a:spLocks/>
          </p:cNvSpPr>
          <p:nvPr/>
        </p:nvSpPr>
        <p:spPr>
          <a:xfrm>
            <a:off x="8482393" y="5529230"/>
            <a:ext cx="216805" cy="216805"/>
          </a:xfrm>
          <a:custGeom>
            <a:avLst/>
            <a:gdLst>
              <a:gd name="connsiteX0" fmla="*/ 2133600 w 4267200"/>
              <a:gd name="connsiteY0" fmla="*/ 1625537 h 4267200"/>
              <a:gd name="connsiteX1" fmla="*/ 1625727 w 4267200"/>
              <a:gd name="connsiteY1" fmla="*/ 2133791 h 4267200"/>
              <a:gd name="connsiteX2" fmla="*/ 2133981 w 4267200"/>
              <a:gd name="connsiteY2" fmla="*/ 2641664 h 4267200"/>
              <a:gd name="connsiteX3" fmla="*/ 2641854 w 4267200"/>
              <a:gd name="connsiteY3" fmla="*/ 2133600 h 4267200"/>
              <a:gd name="connsiteX4" fmla="*/ 2133600 w 4267200"/>
              <a:gd name="connsiteY4" fmla="*/ 1625537 h 4267200"/>
              <a:gd name="connsiteX5" fmla="*/ 3321463 w 4267200"/>
              <a:gd name="connsiteY5" fmla="*/ 1235012 h 4267200"/>
              <a:gd name="connsiteX6" fmla="*/ 3031808 w 4267200"/>
              <a:gd name="connsiteY6" fmla="*/ 945356 h 4267200"/>
              <a:gd name="connsiteX7" fmla="*/ 2133600 w 4267200"/>
              <a:gd name="connsiteY7" fmla="*/ 884111 h 4267200"/>
              <a:gd name="connsiteX8" fmla="*/ 1235297 w 4267200"/>
              <a:gd name="connsiteY8" fmla="*/ 945356 h 4267200"/>
              <a:gd name="connsiteX9" fmla="*/ 945642 w 4267200"/>
              <a:gd name="connsiteY9" fmla="*/ 1235012 h 4267200"/>
              <a:gd name="connsiteX10" fmla="*/ 884396 w 4267200"/>
              <a:gd name="connsiteY10" fmla="*/ 2133505 h 4267200"/>
              <a:gd name="connsiteX11" fmla="*/ 946023 w 4267200"/>
              <a:gd name="connsiteY11" fmla="*/ 3032093 h 4267200"/>
              <a:gd name="connsiteX12" fmla="*/ 1235678 w 4267200"/>
              <a:gd name="connsiteY12" fmla="*/ 3321749 h 4267200"/>
              <a:gd name="connsiteX13" fmla="*/ 2133981 w 4267200"/>
              <a:gd name="connsiteY13" fmla="*/ 3382995 h 4267200"/>
              <a:gd name="connsiteX14" fmla="*/ 3032189 w 4267200"/>
              <a:gd name="connsiteY14" fmla="*/ 3321749 h 4267200"/>
              <a:gd name="connsiteX15" fmla="*/ 3321844 w 4267200"/>
              <a:gd name="connsiteY15" fmla="*/ 3032093 h 4267200"/>
              <a:gd name="connsiteX16" fmla="*/ 3383090 w 4267200"/>
              <a:gd name="connsiteY16" fmla="*/ 2133600 h 4267200"/>
              <a:gd name="connsiteX17" fmla="*/ 3321844 w 4267200"/>
              <a:gd name="connsiteY17" fmla="*/ 1235107 h 4267200"/>
              <a:gd name="connsiteX18" fmla="*/ 2133600 w 4267200"/>
              <a:gd name="connsiteY18" fmla="*/ 2914650 h 4267200"/>
              <a:gd name="connsiteX19" fmla="*/ 1352550 w 4267200"/>
              <a:gd name="connsiteY19" fmla="*/ 2133600 h 4267200"/>
              <a:gd name="connsiteX20" fmla="*/ 2133600 w 4267200"/>
              <a:gd name="connsiteY20" fmla="*/ 1352550 h 4267200"/>
              <a:gd name="connsiteX21" fmla="*/ 2914650 w 4267200"/>
              <a:gd name="connsiteY21" fmla="*/ 2133600 h 4267200"/>
              <a:gd name="connsiteX22" fmla="*/ 2135506 w 4267200"/>
              <a:gd name="connsiteY22" fmla="*/ 2914650 h 4267200"/>
              <a:gd name="connsiteX23" fmla="*/ 2133600 w 4267200"/>
              <a:gd name="connsiteY23" fmla="*/ 2914650 h 4267200"/>
              <a:gd name="connsiteX24" fmla="*/ 2946845 w 4267200"/>
              <a:gd name="connsiteY24" fmla="*/ 1502093 h 4267200"/>
              <a:gd name="connsiteX25" fmla="*/ 2764441 w 4267200"/>
              <a:gd name="connsiteY25" fmla="*/ 1319879 h 4267200"/>
              <a:gd name="connsiteX26" fmla="*/ 2946654 w 4267200"/>
              <a:gd name="connsiteY26" fmla="*/ 1137476 h 4267200"/>
              <a:gd name="connsiteX27" fmla="*/ 3129058 w 4267200"/>
              <a:gd name="connsiteY27" fmla="*/ 1319689 h 4267200"/>
              <a:gd name="connsiteX28" fmla="*/ 3129058 w 4267200"/>
              <a:gd name="connsiteY28" fmla="*/ 1319784 h 4267200"/>
              <a:gd name="connsiteX29" fmla="*/ 2947894 w 4267200"/>
              <a:gd name="connsiteY29" fmla="*/ 1502472 h 4267200"/>
              <a:gd name="connsiteX30" fmla="*/ 2947226 w 4267200"/>
              <a:gd name="connsiteY30" fmla="*/ 1502474 h 4267200"/>
              <a:gd name="connsiteX31" fmla="*/ 3810000 w 4267200"/>
              <a:gd name="connsiteY31" fmla="*/ 0 h 4267200"/>
              <a:gd name="connsiteX32" fmla="*/ 457200 w 4267200"/>
              <a:gd name="connsiteY32" fmla="*/ 0 h 4267200"/>
              <a:gd name="connsiteX33" fmla="*/ 0 w 4267200"/>
              <a:gd name="connsiteY33" fmla="*/ 457200 h 4267200"/>
              <a:gd name="connsiteX34" fmla="*/ 0 w 4267200"/>
              <a:gd name="connsiteY34" fmla="*/ 3810000 h 4267200"/>
              <a:gd name="connsiteX35" fmla="*/ 457200 w 4267200"/>
              <a:gd name="connsiteY35" fmla="*/ 4267200 h 4267200"/>
              <a:gd name="connsiteX36" fmla="*/ 3810000 w 4267200"/>
              <a:gd name="connsiteY36" fmla="*/ 4267200 h 4267200"/>
              <a:gd name="connsiteX37" fmla="*/ 4267200 w 4267200"/>
              <a:gd name="connsiteY37" fmla="*/ 3810000 h 4267200"/>
              <a:gd name="connsiteX38" fmla="*/ 4267200 w 4267200"/>
              <a:gd name="connsiteY38" fmla="*/ 457200 h 4267200"/>
              <a:gd name="connsiteX39" fmla="*/ 3810000 w 4267200"/>
              <a:gd name="connsiteY39" fmla="*/ 0 h 4267200"/>
              <a:gd name="connsiteX40" fmla="*/ 3646932 w 4267200"/>
              <a:gd name="connsiteY40" fmla="*/ 2762250 h 4267200"/>
              <a:gd name="connsiteX41" fmla="*/ 3400711 w 4267200"/>
              <a:gd name="connsiteY41" fmla="*/ 3400425 h 4267200"/>
              <a:gd name="connsiteX42" fmla="*/ 2762536 w 4267200"/>
              <a:gd name="connsiteY42" fmla="*/ 3646646 h 4267200"/>
              <a:gd name="connsiteX43" fmla="*/ 1505236 w 4267200"/>
              <a:gd name="connsiteY43" fmla="*/ 3646646 h 4267200"/>
              <a:gd name="connsiteX44" fmla="*/ 867061 w 4267200"/>
              <a:gd name="connsiteY44" fmla="*/ 3400425 h 4267200"/>
              <a:gd name="connsiteX45" fmla="*/ 620840 w 4267200"/>
              <a:gd name="connsiteY45" fmla="*/ 2762250 h 4267200"/>
              <a:gd name="connsiteX46" fmla="*/ 620840 w 4267200"/>
              <a:gd name="connsiteY46" fmla="*/ 1504950 h 4267200"/>
              <a:gd name="connsiteX47" fmla="*/ 867061 w 4267200"/>
              <a:gd name="connsiteY47" fmla="*/ 866775 h 4267200"/>
              <a:gd name="connsiteX48" fmla="*/ 1505236 w 4267200"/>
              <a:gd name="connsiteY48" fmla="*/ 621221 h 4267200"/>
              <a:gd name="connsiteX49" fmla="*/ 2762536 w 4267200"/>
              <a:gd name="connsiteY49" fmla="*/ 621221 h 4267200"/>
              <a:gd name="connsiteX50" fmla="*/ 3400711 w 4267200"/>
              <a:gd name="connsiteY50" fmla="*/ 867442 h 4267200"/>
              <a:gd name="connsiteX51" fmla="*/ 3646932 w 4267200"/>
              <a:gd name="connsiteY51" fmla="*/ 1506093 h 4267200"/>
              <a:gd name="connsiteX52" fmla="*/ 3646932 w 4267200"/>
              <a:gd name="connsiteY52" fmla="*/ 276225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267200" h="4267200">
                <a:moveTo>
                  <a:pt x="2133600" y="1625537"/>
                </a:moveTo>
                <a:cubicBezTo>
                  <a:pt x="1853004" y="1625642"/>
                  <a:pt x="1625622" y="1853195"/>
                  <a:pt x="1625727" y="2133791"/>
                </a:cubicBezTo>
                <a:cubicBezTo>
                  <a:pt x="1625832" y="2414386"/>
                  <a:pt x="1853385" y="2641769"/>
                  <a:pt x="2133981" y="2641664"/>
                </a:cubicBezTo>
                <a:cubicBezTo>
                  <a:pt x="2414502" y="2641558"/>
                  <a:pt x="2641854" y="2414121"/>
                  <a:pt x="2641854" y="2133600"/>
                </a:cubicBezTo>
                <a:cubicBezTo>
                  <a:pt x="2641644" y="1853017"/>
                  <a:pt x="2414183" y="1625642"/>
                  <a:pt x="2133600" y="1625537"/>
                </a:cubicBezTo>
                <a:close/>
                <a:moveTo>
                  <a:pt x="3321463" y="1235012"/>
                </a:moveTo>
                <a:cubicBezTo>
                  <a:pt x="3269182" y="1102519"/>
                  <a:pt x="3164300" y="997637"/>
                  <a:pt x="3031808" y="945356"/>
                </a:cubicBezTo>
                <a:cubicBezTo>
                  <a:pt x="2831783" y="866394"/>
                  <a:pt x="2355533" y="884111"/>
                  <a:pt x="2133600" y="884111"/>
                </a:cubicBezTo>
                <a:cubicBezTo>
                  <a:pt x="1911668" y="884111"/>
                  <a:pt x="1435894" y="865727"/>
                  <a:pt x="1235297" y="945356"/>
                </a:cubicBezTo>
                <a:cubicBezTo>
                  <a:pt x="1102804" y="997637"/>
                  <a:pt x="997923" y="1102519"/>
                  <a:pt x="945642" y="1235012"/>
                </a:cubicBezTo>
                <a:cubicBezTo>
                  <a:pt x="866775" y="1435037"/>
                  <a:pt x="884396" y="1911763"/>
                  <a:pt x="884396" y="2133505"/>
                </a:cubicBezTo>
                <a:cubicBezTo>
                  <a:pt x="884396" y="2355247"/>
                  <a:pt x="866775" y="2831402"/>
                  <a:pt x="946023" y="3032093"/>
                </a:cubicBezTo>
                <a:cubicBezTo>
                  <a:pt x="998304" y="3164586"/>
                  <a:pt x="1103185" y="3269467"/>
                  <a:pt x="1235678" y="3321749"/>
                </a:cubicBezTo>
                <a:cubicBezTo>
                  <a:pt x="1435703" y="3400711"/>
                  <a:pt x="1911953" y="3382995"/>
                  <a:pt x="2133981" y="3382995"/>
                </a:cubicBezTo>
                <a:cubicBezTo>
                  <a:pt x="2356009" y="3382995"/>
                  <a:pt x="2831592" y="3401378"/>
                  <a:pt x="3032189" y="3321749"/>
                </a:cubicBezTo>
                <a:cubicBezTo>
                  <a:pt x="3164681" y="3269467"/>
                  <a:pt x="3269563" y="3164586"/>
                  <a:pt x="3321844" y="3032093"/>
                </a:cubicBezTo>
                <a:cubicBezTo>
                  <a:pt x="3401378" y="2832068"/>
                  <a:pt x="3383090" y="2355342"/>
                  <a:pt x="3383090" y="2133600"/>
                </a:cubicBezTo>
                <a:cubicBezTo>
                  <a:pt x="3383090" y="1911858"/>
                  <a:pt x="3401378" y="1435799"/>
                  <a:pt x="3321844" y="1235107"/>
                </a:cubicBezTo>
                <a:close/>
                <a:moveTo>
                  <a:pt x="2133600" y="2914650"/>
                </a:moveTo>
                <a:cubicBezTo>
                  <a:pt x="1702238" y="2914650"/>
                  <a:pt x="1352550" y="2564962"/>
                  <a:pt x="1352550" y="2133600"/>
                </a:cubicBezTo>
                <a:cubicBezTo>
                  <a:pt x="1352550" y="1702238"/>
                  <a:pt x="1702238" y="1352550"/>
                  <a:pt x="2133600" y="1352550"/>
                </a:cubicBezTo>
                <a:cubicBezTo>
                  <a:pt x="2564962" y="1352550"/>
                  <a:pt x="2914650" y="1702238"/>
                  <a:pt x="2914650" y="2133600"/>
                </a:cubicBezTo>
                <a:cubicBezTo>
                  <a:pt x="2915177" y="2564436"/>
                  <a:pt x="2566342" y="2914124"/>
                  <a:pt x="2135506" y="2914650"/>
                </a:cubicBezTo>
                <a:cubicBezTo>
                  <a:pt x="2134871" y="2914651"/>
                  <a:pt x="2134236" y="2914651"/>
                  <a:pt x="2133600" y="2914650"/>
                </a:cubicBezTo>
                <a:close/>
                <a:moveTo>
                  <a:pt x="2946845" y="1502093"/>
                </a:moveTo>
                <a:cubicBezTo>
                  <a:pt x="2846158" y="1502145"/>
                  <a:pt x="2764494" y="1420566"/>
                  <a:pt x="2764441" y="1319879"/>
                </a:cubicBezTo>
                <a:cubicBezTo>
                  <a:pt x="2764388" y="1219193"/>
                  <a:pt x="2845968" y="1137528"/>
                  <a:pt x="2946654" y="1137476"/>
                </a:cubicBezTo>
                <a:cubicBezTo>
                  <a:pt x="3047341" y="1137423"/>
                  <a:pt x="3129005" y="1219003"/>
                  <a:pt x="3129058" y="1319689"/>
                </a:cubicBezTo>
                <a:cubicBezTo>
                  <a:pt x="3129058" y="1319721"/>
                  <a:pt x="3129058" y="1319752"/>
                  <a:pt x="3129058" y="1319784"/>
                </a:cubicBezTo>
                <a:cubicBezTo>
                  <a:pt x="3129479" y="1420259"/>
                  <a:pt x="3048369" y="1502051"/>
                  <a:pt x="2947894" y="1502472"/>
                </a:cubicBezTo>
                <a:cubicBezTo>
                  <a:pt x="2947671" y="1502473"/>
                  <a:pt x="2947448" y="1502473"/>
                  <a:pt x="2947226" y="1502474"/>
                </a:cubicBezTo>
                <a:close/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  <a:moveTo>
                  <a:pt x="3646932" y="2762250"/>
                </a:moveTo>
                <a:cubicBezTo>
                  <a:pt x="3634645" y="3006376"/>
                  <a:pt x="3578924" y="3222689"/>
                  <a:pt x="3400711" y="3400425"/>
                </a:cubicBezTo>
                <a:cubicBezTo>
                  <a:pt x="3222498" y="3578162"/>
                  <a:pt x="3006376" y="3635026"/>
                  <a:pt x="2762536" y="3646646"/>
                </a:cubicBezTo>
                <a:cubicBezTo>
                  <a:pt x="2510981" y="3660839"/>
                  <a:pt x="1756791" y="3660839"/>
                  <a:pt x="1505236" y="3646646"/>
                </a:cubicBezTo>
                <a:cubicBezTo>
                  <a:pt x="1261110" y="3634359"/>
                  <a:pt x="1045559" y="3578543"/>
                  <a:pt x="867061" y="3400425"/>
                </a:cubicBezTo>
                <a:cubicBezTo>
                  <a:pt x="688562" y="3222308"/>
                  <a:pt x="632460" y="3005899"/>
                  <a:pt x="620840" y="2762250"/>
                </a:cubicBezTo>
                <a:cubicBezTo>
                  <a:pt x="606647" y="2510599"/>
                  <a:pt x="606647" y="1756315"/>
                  <a:pt x="620840" y="1504950"/>
                </a:cubicBezTo>
                <a:cubicBezTo>
                  <a:pt x="633127" y="1260824"/>
                  <a:pt x="688181" y="1044512"/>
                  <a:pt x="867061" y="866775"/>
                </a:cubicBezTo>
                <a:cubicBezTo>
                  <a:pt x="1045940" y="689038"/>
                  <a:pt x="1262063" y="632841"/>
                  <a:pt x="1505236" y="621221"/>
                </a:cubicBezTo>
                <a:cubicBezTo>
                  <a:pt x="1756791" y="607028"/>
                  <a:pt x="2510981" y="607028"/>
                  <a:pt x="2762536" y="621221"/>
                </a:cubicBezTo>
                <a:cubicBezTo>
                  <a:pt x="3006662" y="633508"/>
                  <a:pt x="3222879" y="689324"/>
                  <a:pt x="3400711" y="867442"/>
                </a:cubicBezTo>
                <a:cubicBezTo>
                  <a:pt x="3578543" y="1045559"/>
                  <a:pt x="3635312" y="1261967"/>
                  <a:pt x="3646932" y="1506093"/>
                </a:cubicBezTo>
                <a:cubicBezTo>
                  <a:pt x="3661124" y="1756791"/>
                  <a:pt x="3661124" y="2510409"/>
                  <a:pt x="3646932" y="276225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62" name="Gruppieren 33">
            <a:extLst>
              <a:ext uri="{FF2B5EF4-FFF2-40B4-BE49-F238E27FC236}">
                <a16:creationId xmlns:a16="http://schemas.microsoft.com/office/drawing/2014/main" id="{8A6551AA-13D6-428E-8498-B6883ED245B7}"/>
              </a:ext>
            </a:extLst>
          </p:cNvPr>
          <p:cNvGrpSpPr>
            <a:grpSpLocks/>
          </p:cNvGrpSpPr>
          <p:nvPr/>
        </p:nvGrpSpPr>
        <p:grpSpPr>
          <a:xfrm>
            <a:off x="8816181" y="5000874"/>
            <a:ext cx="2243792" cy="1001302"/>
            <a:chOff x="3203008" y="2315105"/>
            <a:chExt cx="2577579" cy="1001302"/>
          </a:xfrm>
        </p:grpSpPr>
        <p:sp>
          <p:nvSpPr>
            <p:cNvPr id="63" name="Copy contact 2">
              <a:extLst>
                <a:ext uri="{FF2B5EF4-FFF2-40B4-BE49-F238E27FC236}">
                  <a16:creationId xmlns:a16="http://schemas.microsoft.com/office/drawing/2014/main" id="{DC5D7191-9CA0-4621-8334-152D2AD87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315105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4_wechat}</a:t>
              </a:r>
            </a:p>
          </p:txBody>
        </p:sp>
        <p:sp>
          <p:nvSpPr>
            <p:cNvPr id="64" name="Copy contact 2">
              <a:extLst>
                <a:ext uri="{FF2B5EF4-FFF2-40B4-BE49-F238E27FC236}">
                  <a16:creationId xmlns:a16="http://schemas.microsoft.com/office/drawing/2014/main" id="{9516E67A-91E7-42A2-9A73-A97692FC1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587317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4_phone_number}</a:t>
              </a:r>
            </a:p>
          </p:txBody>
        </p:sp>
        <p:sp>
          <p:nvSpPr>
            <p:cNvPr id="65" name="Copy contact 2">
              <a:extLst>
                <a:ext uri="{FF2B5EF4-FFF2-40B4-BE49-F238E27FC236}">
                  <a16:creationId xmlns:a16="http://schemas.microsoft.com/office/drawing/2014/main" id="{9800465C-2A9E-43E3-8AC7-9670061C05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859529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4_mobile_number}</a:t>
              </a:r>
            </a:p>
          </p:txBody>
        </p:sp>
        <p:sp>
          <p:nvSpPr>
            <p:cNvPr id="66" name="Copy contact 2">
              <a:extLst>
                <a:ext uri="{FF2B5EF4-FFF2-40B4-BE49-F238E27FC236}">
                  <a16:creationId xmlns:a16="http://schemas.microsoft.com/office/drawing/2014/main" id="{A81F8E0D-96FB-40A3-9154-FFA4F8BD76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3131741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4_facebook}</a:t>
              </a:r>
            </a:p>
          </p:txBody>
        </p:sp>
      </p:grpSp>
      <p:sp>
        <p:nvSpPr>
          <p:cNvPr id="68" name="Copy contact 1">
            <a:extLst>
              <a:ext uri="{FF2B5EF4-FFF2-40B4-BE49-F238E27FC236}">
                <a16:creationId xmlns:a16="http://schemas.microsoft.com/office/drawing/2014/main" id="{6BDAF0F1-BDC4-4873-871C-7296F5341ADD}"/>
              </a:ext>
            </a:extLst>
          </p:cNvPr>
          <p:cNvSpPr>
            <a:spLocks/>
          </p:cNvSpPr>
          <p:nvPr/>
        </p:nvSpPr>
        <p:spPr bwMode="gray">
          <a:xfrm>
            <a:off x="8546122" y="1622712"/>
            <a:ext cx="2577579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_position}</a:t>
            </a:r>
          </a:p>
        </p:txBody>
      </p:sp>
      <p:sp>
        <p:nvSpPr>
          <p:cNvPr id="69" name="Rectangle 90">
            <a:extLst>
              <a:ext uri="{FF2B5EF4-FFF2-40B4-BE49-F238E27FC236}">
                <a16:creationId xmlns:a16="http://schemas.microsoft.com/office/drawing/2014/main" id="{06BE1CAB-C329-40CA-87A2-D5E65271621C}"/>
              </a:ext>
            </a:extLst>
          </p:cNvPr>
          <p:cNvSpPr>
            <a:spLocks/>
          </p:cNvSpPr>
          <p:nvPr/>
        </p:nvSpPr>
        <p:spPr bwMode="auto">
          <a:xfrm>
            <a:off x="6096000" y="1622712"/>
            <a:ext cx="2160000" cy="2160000"/>
          </a:xfrm>
          <a:prstGeom prst="teardrop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70" name="Grafik 5">
            <a:extLst>
              <a:ext uri="{FF2B5EF4-FFF2-40B4-BE49-F238E27FC236}">
                <a16:creationId xmlns:a16="http://schemas.microsoft.com/office/drawing/2014/main" id="{7F303AFA-9BBF-4802-A9EB-7DD1AE7CB563}"/>
              </a:ext>
            </a:extLst>
          </p:cNvPr>
          <p:cNvSpPr>
            <a:spLocks/>
          </p:cNvSpPr>
          <p:nvPr/>
        </p:nvSpPr>
        <p:spPr>
          <a:xfrm>
            <a:off x="8546122" y="2774312"/>
            <a:ext cx="216805" cy="216805"/>
          </a:xfrm>
          <a:custGeom>
            <a:avLst/>
            <a:gdLst>
              <a:gd name="connsiteX0" fmla="*/ 3962400 w 4267200"/>
              <a:gd name="connsiteY0" fmla="*/ 0 h 4267200"/>
              <a:gd name="connsiteX1" fmla="*/ 303848 w 4267200"/>
              <a:gd name="connsiteY1" fmla="*/ 0 h 4267200"/>
              <a:gd name="connsiteX2" fmla="*/ 0 w 4267200"/>
              <a:gd name="connsiteY2" fmla="*/ 307658 h 4267200"/>
              <a:gd name="connsiteX3" fmla="*/ 0 w 4267200"/>
              <a:gd name="connsiteY3" fmla="*/ 3959543 h 4267200"/>
              <a:gd name="connsiteX4" fmla="*/ 303848 w 4267200"/>
              <a:gd name="connsiteY4" fmla="*/ 4267200 h 4267200"/>
              <a:gd name="connsiteX5" fmla="*/ 3962400 w 4267200"/>
              <a:gd name="connsiteY5" fmla="*/ 4267200 h 4267200"/>
              <a:gd name="connsiteX6" fmla="*/ 4267200 w 4267200"/>
              <a:gd name="connsiteY6" fmla="*/ 3959543 h 4267200"/>
              <a:gd name="connsiteX7" fmla="*/ 4267200 w 4267200"/>
              <a:gd name="connsiteY7" fmla="*/ 307658 h 4267200"/>
              <a:gd name="connsiteX8" fmla="*/ 3962400 w 4267200"/>
              <a:gd name="connsiteY8" fmla="*/ 0 h 4267200"/>
              <a:gd name="connsiteX9" fmla="*/ 1289685 w 4267200"/>
              <a:gd name="connsiteY9" fmla="*/ 3657600 h 4267200"/>
              <a:gd name="connsiteX10" fmla="*/ 657225 w 4267200"/>
              <a:gd name="connsiteY10" fmla="*/ 3657600 h 4267200"/>
              <a:gd name="connsiteX11" fmla="*/ 657225 w 4267200"/>
              <a:gd name="connsiteY11" fmla="*/ 1621155 h 4267200"/>
              <a:gd name="connsiteX12" fmla="*/ 1290638 w 4267200"/>
              <a:gd name="connsiteY12" fmla="*/ 1621155 h 4267200"/>
              <a:gd name="connsiteX13" fmla="*/ 1290638 w 4267200"/>
              <a:gd name="connsiteY13" fmla="*/ 3657600 h 4267200"/>
              <a:gd name="connsiteX14" fmla="*/ 973455 w 4267200"/>
              <a:gd name="connsiteY14" fmla="*/ 1343025 h 4267200"/>
              <a:gd name="connsiteX15" fmla="*/ 606743 w 4267200"/>
              <a:gd name="connsiteY15" fmla="*/ 976313 h 4267200"/>
              <a:gd name="connsiteX16" fmla="*/ 973455 w 4267200"/>
              <a:gd name="connsiteY16" fmla="*/ 609600 h 4267200"/>
              <a:gd name="connsiteX17" fmla="*/ 1340168 w 4267200"/>
              <a:gd name="connsiteY17" fmla="*/ 976313 h 4267200"/>
              <a:gd name="connsiteX18" fmla="*/ 973455 w 4267200"/>
              <a:gd name="connsiteY18" fmla="*/ 1343025 h 4267200"/>
              <a:gd name="connsiteX19" fmla="*/ 3660458 w 4267200"/>
              <a:gd name="connsiteY19" fmla="*/ 3657600 h 4267200"/>
              <a:gd name="connsiteX20" fmla="*/ 3027998 w 4267200"/>
              <a:gd name="connsiteY20" fmla="*/ 3657600 h 4267200"/>
              <a:gd name="connsiteX21" fmla="*/ 3027998 w 4267200"/>
              <a:gd name="connsiteY21" fmla="*/ 2667000 h 4267200"/>
              <a:gd name="connsiteX22" fmla="*/ 2699385 w 4267200"/>
              <a:gd name="connsiteY22" fmla="*/ 2126933 h 4267200"/>
              <a:gd name="connsiteX23" fmla="*/ 2319338 w 4267200"/>
              <a:gd name="connsiteY23" fmla="*/ 2649855 h 4267200"/>
              <a:gd name="connsiteX24" fmla="*/ 2319338 w 4267200"/>
              <a:gd name="connsiteY24" fmla="*/ 3657600 h 4267200"/>
              <a:gd name="connsiteX25" fmla="*/ 1686878 w 4267200"/>
              <a:gd name="connsiteY25" fmla="*/ 3657600 h 4267200"/>
              <a:gd name="connsiteX26" fmla="*/ 1686878 w 4267200"/>
              <a:gd name="connsiteY26" fmla="*/ 1621155 h 4267200"/>
              <a:gd name="connsiteX27" fmla="*/ 2293620 w 4267200"/>
              <a:gd name="connsiteY27" fmla="*/ 1621155 h 4267200"/>
              <a:gd name="connsiteX28" fmla="*/ 2293620 w 4267200"/>
              <a:gd name="connsiteY28" fmla="*/ 1899285 h 4267200"/>
              <a:gd name="connsiteX29" fmla="*/ 2302193 w 4267200"/>
              <a:gd name="connsiteY29" fmla="*/ 1899285 h 4267200"/>
              <a:gd name="connsiteX30" fmla="*/ 2901315 w 4267200"/>
              <a:gd name="connsiteY30" fmla="*/ 1570673 h 4267200"/>
              <a:gd name="connsiteX31" fmla="*/ 3660458 w 4267200"/>
              <a:gd name="connsiteY31" fmla="*/ 2541270 h 4267200"/>
              <a:gd name="connsiteX32" fmla="*/ 3660458 w 4267200"/>
              <a:gd name="connsiteY32" fmla="*/ 36576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267200" h="4267200">
                <a:moveTo>
                  <a:pt x="3962400" y="0"/>
                </a:moveTo>
                <a:lnTo>
                  <a:pt x="303848" y="0"/>
                </a:lnTo>
                <a:cubicBezTo>
                  <a:pt x="136208" y="0"/>
                  <a:pt x="0" y="138113"/>
                  <a:pt x="0" y="307658"/>
                </a:cubicBezTo>
                <a:lnTo>
                  <a:pt x="0" y="3959543"/>
                </a:lnTo>
                <a:cubicBezTo>
                  <a:pt x="0" y="4129088"/>
                  <a:pt x="136208" y="4267200"/>
                  <a:pt x="303848" y="4267200"/>
                </a:cubicBezTo>
                <a:lnTo>
                  <a:pt x="3962400" y="4267200"/>
                </a:lnTo>
                <a:cubicBezTo>
                  <a:pt x="4130040" y="4267200"/>
                  <a:pt x="4267200" y="4129088"/>
                  <a:pt x="4267200" y="3959543"/>
                </a:cubicBezTo>
                <a:lnTo>
                  <a:pt x="4267200" y="307658"/>
                </a:lnTo>
                <a:cubicBezTo>
                  <a:pt x="4267200" y="138113"/>
                  <a:pt x="4130040" y="0"/>
                  <a:pt x="3962400" y="0"/>
                </a:cubicBezTo>
                <a:close/>
                <a:moveTo>
                  <a:pt x="1289685" y="3657600"/>
                </a:moveTo>
                <a:lnTo>
                  <a:pt x="657225" y="3657600"/>
                </a:lnTo>
                <a:lnTo>
                  <a:pt x="657225" y="1621155"/>
                </a:lnTo>
                <a:lnTo>
                  <a:pt x="1290638" y="1621155"/>
                </a:lnTo>
                <a:lnTo>
                  <a:pt x="1290638" y="3657600"/>
                </a:lnTo>
                <a:close/>
                <a:moveTo>
                  <a:pt x="973455" y="1343025"/>
                </a:moveTo>
                <a:cubicBezTo>
                  <a:pt x="770573" y="1343025"/>
                  <a:pt x="606743" y="1178243"/>
                  <a:pt x="606743" y="976313"/>
                </a:cubicBezTo>
                <a:cubicBezTo>
                  <a:pt x="606743" y="774383"/>
                  <a:pt x="770573" y="609600"/>
                  <a:pt x="973455" y="609600"/>
                </a:cubicBezTo>
                <a:cubicBezTo>
                  <a:pt x="1175385" y="609600"/>
                  <a:pt x="1340168" y="774383"/>
                  <a:pt x="1340168" y="976313"/>
                </a:cubicBezTo>
                <a:cubicBezTo>
                  <a:pt x="1340168" y="1179195"/>
                  <a:pt x="1176338" y="1343025"/>
                  <a:pt x="973455" y="1343025"/>
                </a:cubicBezTo>
                <a:close/>
                <a:moveTo>
                  <a:pt x="3660458" y="3657600"/>
                </a:moveTo>
                <a:lnTo>
                  <a:pt x="3027998" y="3657600"/>
                </a:lnTo>
                <a:lnTo>
                  <a:pt x="3027998" y="2667000"/>
                </a:lnTo>
                <a:cubicBezTo>
                  <a:pt x="3027998" y="2430780"/>
                  <a:pt x="3023235" y="2126933"/>
                  <a:pt x="2699385" y="2126933"/>
                </a:cubicBezTo>
                <a:cubicBezTo>
                  <a:pt x="2369820" y="2126933"/>
                  <a:pt x="2319338" y="2384108"/>
                  <a:pt x="2319338" y="2649855"/>
                </a:cubicBezTo>
                <a:lnTo>
                  <a:pt x="2319338" y="3657600"/>
                </a:lnTo>
                <a:lnTo>
                  <a:pt x="1686878" y="3657600"/>
                </a:lnTo>
                <a:lnTo>
                  <a:pt x="1686878" y="1621155"/>
                </a:lnTo>
                <a:lnTo>
                  <a:pt x="2293620" y="1621155"/>
                </a:lnTo>
                <a:lnTo>
                  <a:pt x="2293620" y="1899285"/>
                </a:lnTo>
                <a:lnTo>
                  <a:pt x="2302193" y="1899285"/>
                </a:lnTo>
                <a:cubicBezTo>
                  <a:pt x="2386965" y="1739265"/>
                  <a:pt x="2593658" y="1570673"/>
                  <a:pt x="2901315" y="1570673"/>
                </a:cubicBezTo>
                <a:cubicBezTo>
                  <a:pt x="3541395" y="1570673"/>
                  <a:pt x="3660458" y="1992630"/>
                  <a:pt x="3660458" y="2541270"/>
                </a:cubicBezTo>
                <a:lnTo>
                  <a:pt x="3660458" y="3657600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1" name="Grafik 18">
            <a:extLst>
              <a:ext uri="{FF2B5EF4-FFF2-40B4-BE49-F238E27FC236}">
                <a16:creationId xmlns:a16="http://schemas.microsoft.com/office/drawing/2014/main" id="{B50D234B-2A0D-428A-A177-7FA2EF5FF5C0}"/>
              </a:ext>
            </a:extLst>
          </p:cNvPr>
          <p:cNvSpPr>
            <a:spLocks/>
          </p:cNvSpPr>
          <p:nvPr/>
        </p:nvSpPr>
        <p:spPr>
          <a:xfrm>
            <a:off x="8546122" y="3318739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1764506 w 4267200"/>
              <a:gd name="connsiteY5" fmla="*/ 4267200 h 4267200"/>
              <a:gd name="connsiteX6" fmla="*/ 1764506 w 4267200"/>
              <a:gd name="connsiteY6" fmla="*/ 2816447 h 4267200"/>
              <a:gd name="connsiteX7" fmla="*/ 1164431 w 4267200"/>
              <a:gd name="connsiteY7" fmla="*/ 2816447 h 4267200"/>
              <a:gd name="connsiteX8" fmla="*/ 1164431 w 4267200"/>
              <a:gd name="connsiteY8" fmla="*/ 2133600 h 4267200"/>
              <a:gd name="connsiteX9" fmla="*/ 1764506 w 4267200"/>
              <a:gd name="connsiteY9" fmla="*/ 2133600 h 4267200"/>
              <a:gd name="connsiteX10" fmla="*/ 1764506 w 4267200"/>
              <a:gd name="connsiteY10" fmla="*/ 1613154 h 4267200"/>
              <a:gd name="connsiteX11" fmla="*/ 2656713 w 4267200"/>
              <a:gd name="connsiteY11" fmla="*/ 694182 h 4267200"/>
              <a:gd name="connsiteX12" fmla="*/ 3185541 w 4267200"/>
              <a:gd name="connsiteY12" fmla="*/ 740283 h 4267200"/>
              <a:gd name="connsiteX13" fmla="*/ 3185541 w 4267200"/>
              <a:gd name="connsiteY13" fmla="*/ 1321308 h 4267200"/>
              <a:gd name="connsiteX14" fmla="*/ 2887695 w 4267200"/>
              <a:gd name="connsiteY14" fmla="*/ 1321308 h 4267200"/>
              <a:gd name="connsiteX15" fmla="*/ 2502694 w 4267200"/>
              <a:gd name="connsiteY15" fmla="*/ 1690211 h 4267200"/>
              <a:gd name="connsiteX16" fmla="*/ 2502694 w 4267200"/>
              <a:gd name="connsiteY16" fmla="*/ 2133600 h 4267200"/>
              <a:gd name="connsiteX17" fmla="*/ 3157823 w 4267200"/>
              <a:gd name="connsiteY17" fmla="*/ 2133600 h 4267200"/>
              <a:gd name="connsiteX18" fmla="*/ 3053048 w 4267200"/>
              <a:gd name="connsiteY18" fmla="*/ 2816447 h 4267200"/>
              <a:gd name="connsiteX19" fmla="*/ 2502694 w 4267200"/>
              <a:gd name="connsiteY19" fmla="*/ 2816447 h 4267200"/>
              <a:gd name="connsiteX20" fmla="*/ 2502694 w 4267200"/>
              <a:gd name="connsiteY20" fmla="*/ 4267200 h 4267200"/>
              <a:gd name="connsiteX21" fmla="*/ 3810000 w 4267200"/>
              <a:gd name="connsiteY21" fmla="*/ 4267200 h 4267200"/>
              <a:gd name="connsiteX22" fmla="*/ 4267200 w 4267200"/>
              <a:gd name="connsiteY22" fmla="*/ 3810000 h 4267200"/>
              <a:gd name="connsiteX23" fmla="*/ 4267200 w 4267200"/>
              <a:gd name="connsiteY23" fmla="*/ 457200 h 4267200"/>
              <a:gd name="connsiteX24" fmla="*/ 3810000 w 4267200"/>
              <a:gd name="connsiteY24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1764506" y="4267200"/>
                </a:lnTo>
                <a:lnTo>
                  <a:pt x="1764506" y="2816447"/>
                </a:lnTo>
                <a:lnTo>
                  <a:pt x="1164431" y="2816447"/>
                </a:lnTo>
                <a:lnTo>
                  <a:pt x="1164431" y="2133600"/>
                </a:lnTo>
                <a:lnTo>
                  <a:pt x="1764506" y="2133600"/>
                </a:lnTo>
                <a:lnTo>
                  <a:pt x="1764506" y="1613154"/>
                </a:lnTo>
                <a:cubicBezTo>
                  <a:pt x="1764506" y="1021175"/>
                  <a:pt x="2116931" y="694182"/>
                  <a:pt x="2656713" y="694182"/>
                </a:cubicBezTo>
                <a:cubicBezTo>
                  <a:pt x="2915222" y="694182"/>
                  <a:pt x="3185541" y="740283"/>
                  <a:pt x="3185541" y="740283"/>
                </a:cubicBezTo>
                <a:lnTo>
                  <a:pt x="3185541" y="1321308"/>
                </a:lnTo>
                <a:lnTo>
                  <a:pt x="2887695" y="1321308"/>
                </a:lnTo>
                <a:cubicBezTo>
                  <a:pt x="2594229" y="1321308"/>
                  <a:pt x="2502694" y="1503426"/>
                  <a:pt x="2502694" y="1690211"/>
                </a:cubicBezTo>
                <a:lnTo>
                  <a:pt x="2502694" y="2133600"/>
                </a:lnTo>
                <a:lnTo>
                  <a:pt x="3157823" y="2133600"/>
                </a:lnTo>
                <a:lnTo>
                  <a:pt x="3053048" y="2816447"/>
                </a:lnTo>
                <a:lnTo>
                  <a:pt x="2502694" y="2816447"/>
                </a:lnTo>
                <a:lnTo>
                  <a:pt x="2502694" y="4267200"/>
                </a:ln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2" name="Grafik 21">
            <a:extLst>
              <a:ext uri="{FF2B5EF4-FFF2-40B4-BE49-F238E27FC236}">
                <a16:creationId xmlns:a16="http://schemas.microsoft.com/office/drawing/2014/main" id="{57564C1A-288A-4893-9FC3-C9BC49605DD2}"/>
              </a:ext>
            </a:extLst>
          </p:cNvPr>
          <p:cNvSpPr>
            <a:spLocks/>
          </p:cNvSpPr>
          <p:nvPr/>
        </p:nvSpPr>
        <p:spPr>
          <a:xfrm>
            <a:off x="8546122" y="2502099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3810000 w 4267200"/>
              <a:gd name="connsiteY5" fmla="*/ 4267200 h 4267200"/>
              <a:gd name="connsiteX6" fmla="*/ 4267200 w 4267200"/>
              <a:gd name="connsiteY6" fmla="*/ 3810000 h 4267200"/>
              <a:gd name="connsiteX7" fmla="*/ 4267200 w 4267200"/>
              <a:gd name="connsiteY7" fmla="*/ 457200 h 4267200"/>
              <a:gd name="connsiteX8" fmla="*/ 3810000 w 4267200"/>
              <a:gd name="connsiteY8" fmla="*/ 0 h 4267200"/>
              <a:gd name="connsiteX9" fmla="*/ 3344228 w 4267200"/>
              <a:gd name="connsiteY9" fmla="*/ 1512570 h 4267200"/>
              <a:gd name="connsiteX10" fmla="*/ 3346133 w 4267200"/>
              <a:gd name="connsiteY10" fmla="*/ 1593533 h 4267200"/>
              <a:gd name="connsiteX11" fmla="*/ 1568768 w 4267200"/>
              <a:gd name="connsiteY11" fmla="*/ 3370898 h 4267200"/>
              <a:gd name="connsiteX12" fmla="*/ 609600 w 4267200"/>
              <a:gd name="connsiteY12" fmla="*/ 3090863 h 4267200"/>
              <a:gd name="connsiteX13" fmla="*/ 760095 w 4267200"/>
              <a:gd name="connsiteY13" fmla="*/ 3098483 h 4267200"/>
              <a:gd name="connsiteX14" fmla="*/ 1535430 w 4267200"/>
              <a:gd name="connsiteY14" fmla="*/ 2831783 h 4267200"/>
              <a:gd name="connsiteX15" fmla="*/ 951548 w 4267200"/>
              <a:gd name="connsiteY15" fmla="*/ 2398395 h 4267200"/>
              <a:gd name="connsiteX16" fmla="*/ 1233488 w 4267200"/>
              <a:gd name="connsiteY16" fmla="*/ 2386965 h 4267200"/>
              <a:gd name="connsiteX17" fmla="*/ 733425 w 4267200"/>
              <a:gd name="connsiteY17" fmla="*/ 1773555 h 4267200"/>
              <a:gd name="connsiteX18" fmla="*/ 733425 w 4267200"/>
              <a:gd name="connsiteY18" fmla="*/ 1765935 h 4267200"/>
              <a:gd name="connsiteX19" fmla="*/ 1015365 w 4267200"/>
              <a:gd name="connsiteY19" fmla="*/ 1844993 h 4267200"/>
              <a:gd name="connsiteX20" fmla="*/ 737235 w 4267200"/>
              <a:gd name="connsiteY20" fmla="*/ 1324927 h 4267200"/>
              <a:gd name="connsiteX21" fmla="*/ 822008 w 4267200"/>
              <a:gd name="connsiteY21" fmla="*/ 1009650 h 4267200"/>
              <a:gd name="connsiteX22" fmla="*/ 2109788 w 4267200"/>
              <a:gd name="connsiteY22" fmla="*/ 1663065 h 4267200"/>
              <a:gd name="connsiteX23" fmla="*/ 2719388 w 4267200"/>
              <a:gd name="connsiteY23" fmla="*/ 895350 h 4267200"/>
              <a:gd name="connsiteX24" fmla="*/ 3175635 w 4267200"/>
              <a:gd name="connsiteY24" fmla="*/ 1092518 h 4267200"/>
              <a:gd name="connsiteX25" fmla="*/ 3571875 w 4267200"/>
              <a:gd name="connsiteY25" fmla="*/ 942022 h 4267200"/>
              <a:gd name="connsiteX26" fmla="*/ 3297555 w 4267200"/>
              <a:gd name="connsiteY26" fmla="*/ 1285875 h 4267200"/>
              <a:gd name="connsiteX27" fmla="*/ 3657600 w 4267200"/>
              <a:gd name="connsiteY27" fmla="*/ 1188720 h 4267200"/>
              <a:gd name="connsiteX28" fmla="*/ 3344228 w 4267200"/>
              <a:gd name="connsiteY28" fmla="*/ 151257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788" y="0"/>
                  <a:pt x="0" y="204788"/>
                  <a:pt x="0" y="457200"/>
                </a:cubicBezTo>
                <a:lnTo>
                  <a:pt x="0" y="3810000"/>
                </a:lnTo>
                <a:cubicBezTo>
                  <a:pt x="0" y="4062413"/>
                  <a:pt x="204788" y="4267200"/>
                  <a:pt x="457200" y="4267200"/>
                </a:cubicBezTo>
                <a:lnTo>
                  <a:pt x="3810000" y="4267200"/>
                </a:lnTo>
                <a:cubicBezTo>
                  <a:pt x="4062413" y="4267200"/>
                  <a:pt x="4267200" y="4062413"/>
                  <a:pt x="4267200" y="3810000"/>
                </a:cubicBezTo>
                <a:lnTo>
                  <a:pt x="4267200" y="457200"/>
                </a:lnTo>
                <a:cubicBezTo>
                  <a:pt x="4267200" y="204788"/>
                  <a:pt x="4062413" y="0"/>
                  <a:pt x="3810000" y="0"/>
                </a:cubicBezTo>
                <a:close/>
                <a:moveTo>
                  <a:pt x="3344228" y="1512570"/>
                </a:moveTo>
                <a:cubicBezTo>
                  <a:pt x="3346133" y="1539240"/>
                  <a:pt x="3346133" y="1566863"/>
                  <a:pt x="3346133" y="1593533"/>
                </a:cubicBezTo>
                <a:cubicBezTo>
                  <a:pt x="3346133" y="2419350"/>
                  <a:pt x="2717483" y="3370898"/>
                  <a:pt x="1568768" y="3370898"/>
                </a:cubicBezTo>
                <a:cubicBezTo>
                  <a:pt x="1214438" y="3370898"/>
                  <a:pt x="885825" y="3268028"/>
                  <a:pt x="609600" y="3090863"/>
                </a:cubicBezTo>
                <a:cubicBezTo>
                  <a:pt x="660083" y="3096578"/>
                  <a:pt x="708660" y="3098483"/>
                  <a:pt x="760095" y="3098483"/>
                </a:cubicBezTo>
                <a:cubicBezTo>
                  <a:pt x="1052513" y="3098483"/>
                  <a:pt x="1321118" y="2999423"/>
                  <a:pt x="1535430" y="2831783"/>
                </a:cubicBezTo>
                <a:cubicBezTo>
                  <a:pt x="1261110" y="2826068"/>
                  <a:pt x="1030605" y="2646045"/>
                  <a:pt x="951548" y="2398395"/>
                </a:cubicBezTo>
                <a:cubicBezTo>
                  <a:pt x="1047750" y="2412683"/>
                  <a:pt x="1134428" y="2412683"/>
                  <a:pt x="1233488" y="2386965"/>
                </a:cubicBezTo>
                <a:cubicBezTo>
                  <a:pt x="947738" y="2328863"/>
                  <a:pt x="733425" y="2077403"/>
                  <a:pt x="733425" y="1773555"/>
                </a:cubicBezTo>
                <a:lnTo>
                  <a:pt x="733425" y="1765935"/>
                </a:lnTo>
                <a:cubicBezTo>
                  <a:pt x="816293" y="1812608"/>
                  <a:pt x="913448" y="1841183"/>
                  <a:pt x="1015365" y="1844993"/>
                </a:cubicBezTo>
                <a:cubicBezTo>
                  <a:pt x="841329" y="1729229"/>
                  <a:pt x="736893" y="1533948"/>
                  <a:pt x="737235" y="1324927"/>
                </a:cubicBezTo>
                <a:cubicBezTo>
                  <a:pt x="737235" y="1208723"/>
                  <a:pt x="767715" y="1102043"/>
                  <a:pt x="822008" y="1009650"/>
                </a:cubicBezTo>
                <a:cubicBezTo>
                  <a:pt x="1129665" y="1388745"/>
                  <a:pt x="1591628" y="1636395"/>
                  <a:pt x="2109788" y="1663065"/>
                </a:cubicBezTo>
                <a:cubicBezTo>
                  <a:pt x="2021205" y="1239203"/>
                  <a:pt x="2338388" y="895350"/>
                  <a:pt x="2719388" y="895350"/>
                </a:cubicBezTo>
                <a:cubicBezTo>
                  <a:pt x="2899410" y="895350"/>
                  <a:pt x="3061335" y="970597"/>
                  <a:pt x="3175635" y="1092518"/>
                </a:cubicBezTo>
                <a:cubicBezTo>
                  <a:pt x="3316605" y="1065848"/>
                  <a:pt x="3451860" y="1013460"/>
                  <a:pt x="3571875" y="942022"/>
                </a:cubicBezTo>
                <a:cubicBezTo>
                  <a:pt x="3525203" y="1086803"/>
                  <a:pt x="3427095" y="1208723"/>
                  <a:pt x="3297555" y="1285875"/>
                </a:cubicBezTo>
                <a:cubicBezTo>
                  <a:pt x="3423285" y="1272540"/>
                  <a:pt x="3545205" y="1237298"/>
                  <a:pt x="3657600" y="1188720"/>
                </a:cubicBezTo>
                <a:cubicBezTo>
                  <a:pt x="3572828" y="1313498"/>
                  <a:pt x="3466148" y="1423988"/>
                  <a:pt x="3344228" y="151257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3" name="Grafik 27">
            <a:extLst>
              <a:ext uri="{FF2B5EF4-FFF2-40B4-BE49-F238E27FC236}">
                <a16:creationId xmlns:a16="http://schemas.microsoft.com/office/drawing/2014/main" id="{60FC442C-9C43-4A31-B83B-2CB6F1A0382E}"/>
              </a:ext>
            </a:extLst>
          </p:cNvPr>
          <p:cNvSpPr>
            <a:spLocks/>
          </p:cNvSpPr>
          <p:nvPr/>
        </p:nvSpPr>
        <p:spPr>
          <a:xfrm>
            <a:off x="8546122" y="3046525"/>
            <a:ext cx="216805" cy="216805"/>
          </a:xfrm>
          <a:custGeom>
            <a:avLst/>
            <a:gdLst>
              <a:gd name="connsiteX0" fmla="*/ 2133600 w 4267200"/>
              <a:gd name="connsiteY0" fmla="*/ 1625537 h 4267200"/>
              <a:gd name="connsiteX1" fmla="*/ 1625727 w 4267200"/>
              <a:gd name="connsiteY1" fmla="*/ 2133791 h 4267200"/>
              <a:gd name="connsiteX2" fmla="*/ 2133981 w 4267200"/>
              <a:gd name="connsiteY2" fmla="*/ 2641664 h 4267200"/>
              <a:gd name="connsiteX3" fmla="*/ 2641854 w 4267200"/>
              <a:gd name="connsiteY3" fmla="*/ 2133600 h 4267200"/>
              <a:gd name="connsiteX4" fmla="*/ 2133600 w 4267200"/>
              <a:gd name="connsiteY4" fmla="*/ 1625537 h 4267200"/>
              <a:gd name="connsiteX5" fmla="*/ 3321463 w 4267200"/>
              <a:gd name="connsiteY5" fmla="*/ 1235012 h 4267200"/>
              <a:gd name="connsiteX6" fmla="*/ 3031808 w 4267200"/>
              <a:gd name="connsiteY6" fmla="*/ 945356 h 4267200"/>
              <a:gd name="connsiteX7" fmla="*/ 2133600 w 4267200"/>
              <a:gd name="connsiteY7" fmla="*/ 884111 h 4267200"/>
              <a:gd name="connsiteX8" fmla="*/ 1235297 w 4267200"/>
              <a:gd name="connsiteY8" fmla="*/ 945356 h 4267200"/>
              <a:gd name="connsiteX9" fmla="*/ 945642 w 4267200"/>
              <a:gd name="connsiteY9" fmla="*/ 1235012 h 4267200"/>
              <a:gd name="connsiteX10" fmla="*/ 884396 w 4267200"/>
              <a:gd name="connsiteY10" fmla="*/ 2133505 h 4267200"/>
              <a:gd name="connsiteX11" fmla="*/ 946023 w 4267200"/>
              <a:gd name="connsiteY11" fmla="*/ 3032093 h 4267200"/>
              <a:gd name="connsiteX12" fmla="*/ 1235678 w 4267200"/>
              <a:gd name="connsiteY12" fmla="*/ 3321749 h 4267200"/>
              <a:gd name="connsiteX13" fmla="*/ 2133981 w 4267200"/>
              <a:gd name="connsiteY13" fmla="*/ 3382995 h 4267200"/>
              <a:gd name="connsiteX14" fmla="*/ 3032189 w 4267200"/>
              <a:gd name="connsiteY14" fmla="*/ 3321749 h 4267200"/>
              <a:gd name="connsiteX15" fmla="*/ 3321844 w 4267200"/>
              <a:gd name="connsiteY15" fmla="*/ 3032093 h 4267200"/>
              <a:gd name="connsiteX16" fmla="*/ 3383090 w 4267200"/>
              <a:gd name="connsiteY16" fmla="*/ 2133600 h 4267200"/>
              <a:gd name="connsiteX17" fmla="*/ 3321844 w 4267200"/>
              <a:gd name="connsiteY17" fmla="*/ 1235107 h 4267200"/>
              <a:gd name="connsiteX18" fmla="*/ 2133600 w 4267200"/>
              <a:gd name="connsiteY18" fmla="*/ 2914650 h 4267200"/>
              <a:gd name="connsiteX19" fmla="*/ 1352550 w 4267200"/>
              <a:gd name="connsiteY19" fmla="*/ 2133600 h 4267200"/>
              <a:gd name="connsiteX20" fmla="*/ 2133600 w 4267200"/>
              <a:gd name="connsiteY20" fmla="*/ 1352550 h 4267200"/>
              <a:gd name="connsiteX21" fmla="*/ 2914650 w 4267200"/>
              <a:gd name="connsiteY21" fmla="*/ 2133600 h 4267200"/>
              <a:gd name="connsiteX22" fmla="*/ 2135506 w 4267200"/>
              <a:gd name="connsiteY22" fmla="*/ 2914650 h 4267200"/>
              <a:gd name="connsiteX23" fmla="*/ 2133600 w 4267200"/>
              <a:gd name="connsiteY23" fmla="*/ 2914650 h 4267200"/>
              <a:gd name="connsiteX24" fmla="*/ 2946845 w 4267200"/>
              <a:gd name="connsiteY24" fmla="*/ 1502093 h 4267200"/>
              <a:gd name="connsiteX25" fmla="*/ 2764441 w 4267200"/>
              <a:gd name="connsiteY25" fmla="*/ 1319879 h 4267200"/>
              <a:gd name="connsiteX26" fmla="*/ 2946654 w 4267200"/>
              <a:gd name="connsiteY26" fmla="*/ 1137476 h 4267200"/>
              <a:gd name="connsiteX27" fmla="*/ 3129058 w 4267200"/>
              <a:gd name="connsiteY27" fmla="*/ 1319689 h 4267200"/>
              <a:gd name="connsiteX28" fmla="*/ 3129058 w 4267200"/>
              <a:gd name="connsiteY28" fmla="*/ 1319784 h 4267200"/>
              <a:gd name="connsiteX29" fmla="*/ 2947894 w 4267200"/>
              <a:gd name="connsiteY29" fmla="*/ 1502472 h 4267200"/>
              <a:gd name="connsiteX30" fmla="*/ 2947226 w 4267200"/>
              <a:gd name="connsiteY30" fmla="*/ 1502474 h 4267200"/>
              <a:gd name="connsiteX31" fmla="*/ 3810000 w 4267200"/>
              <a:gd name="connsiteY31" fmla="*/ 0 h 4267200"/>
              <a:gd name="connsiteX32" fmla="*/ 457200 w 4267200"/>
              <a:gd name="connsiteY32" fmla="*/ 0 h 4267200"/>
              <a:gd name="connsiteX33" fmla="*/ 0 w 4267200"/>
              <a:gd name="connsiteY33" fmla="*/ 457200 h 4267200"/>
              <a:gd name="connsiteX34" fmla="*/ 0 w 4267200"/>
              <a:gd name="connsiteY34" fmla="*/ 3810000 h 4267200"/>
              <a:gd name="connsiteX35" fmla="*/ 457200 w 4267200"/>
              <a:gd name="connsiteY35" fmla="*/ 4267200 h 4267200"/>
              <a:gd name="connsiteX36" fmla="*/ 3810000 w 4267200"/>
              <a:gd name="connsiteY36" fmla="*/ 4267200 h 4267200"/>
              <a:gd name="connsiteX37" fmla="*/ 4267200 w 4267200"/>
              <a:gd name="connsiteY37" fmla="*/ 3810000 h 4267200"/>
              <a:gd name="connsiteX38" fmla="*/ 4267200 w 4267200"/>
              <a:gd name="connsiteY38" fmla="*/ 457200 h 4267200"/>
              <a:gd name="connsiteX39" fmla="*/ 3810000 w 4267200"/>
              <a:gd name="connsiteY39" fmla="*/ 0 h 4267200"/>
              <a:gd name="connsiteX40" fmla="*/ 3646932 w 4267200"/>
              <a:gd name="connsiteY40" fmla="*/ 2762250 h 4267200"/>
              <a:gd name="connsiteX41" fmla="*/ 3400711 w 4267200"/>
              <a:gd name="connsiteY41" fmla="*/ 3400425 h 4267200"/>
              <a:gd name="connsiteX42" fmla="*/ 2762536 w 4267200"/>
              <a:gd name="connsiteY42" fmla="*/ 3646646 h 4267200"/>
              <a:gd name="connsiteX43" fmla="*/ 1505236 w 4267200"/>
              <a:gd name="connsiteY43" fmla="*/ 3646646 h 4267200"/>
              <a:gd name="connsiteX44" fmla="*/ 867061 w 4267200"/>
              <a:gd name="connsiteY44" fmla="*/ 3400425 h 4267200"/>
              <a:gd name="connsiteX45" fmla="*/ 620840 w 4267200"/>
              <a:gd name="connsiteY45" fmla="*/ 2762250 h 4267200"/>
              <a:gd name="connsiteX46" fmla="*/ 620840 w 4267200"/>
              <a:gd name="connsiteY46" fmla="*/ 1504950 h 4267200"/>
              <a:gd name="connsiteX47" fmla="*/ 867061 w 4267200"/>
              <a:gd name="connsiteY47" fmla="*/ 866775 h 4267200"/>
              <a:gd name="connsiteX48" fmla="*/ 1505236 w 4267200"/>
              <a:gd name="connsiteY48" fmla="*/ 621221 h 4267200"/>
              <a:gd name="connsiteX49" fmla="*/ 2762536 w 4267200"/>
              <a:gd name="connsiteY49" fmla="*/ 621221 h 4267200"/>
              <a:gd name="connsiteX50" fmla="*/ 3400711 w 4267200"/>
              <a:gd name="connsiteY50" fmla="*/ 867442 h 4267200"/>
              <a:gd name="connsiteX51" fmla="*/ 3646932 w 4267200"/>
              <a:gd name="connsiteY51" fmla="*/ 1506093 h 4267200"/>
              <a:gd name="connsiteX52" fmla="*/ 3646932 w 4267200"/>
              <a:gd name="connsiteY52" fmla="*/ 276225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267200" h="4267200">
                <a:moveTo>
                  <a:pt x="2133600" y="1625537"/>
                </a:moveTo>
                <a:cubicBezTo>
                  <a:pt x="1853004" y="1625642"/>
                  <a:pt x="1625622" y="1853195"/>
                  <a:pt x="1625727" y="2133791"/>
                </a:cubicBezTo>
                <a:cubicBezTo>
                  <a:pt x="1625832" y="2414386"/>
                  <a:pt x="1853385" y="2641769"/>
                  <a:pt x="2133981" y="2641664"/>
                </a:cubicBezTo>
                <a:cubicBezTo>
                  <a:pt x="2414502" y="2641558"/>
                  <a:pt x="2641854" y="2414121"/>
                  <a:pt x="2641854" y="2133600"/>
                </a:cubicBezTo>
                <a:cubicBezTo>
                  <a:pt x="2641644" y="1853017"/>
                  <a:pt x="2414183" y="1625642"/>
                  <a:pt x="2133600" y="1625537"/>
                </a:cubicBezTo>
                <a:close/>
                <a:moveTo>
                  <a:pt x="3321463" y="1235012"/>
                </a:moveTo>
                <a:cubicBezTo>
                  <a:pt x="3269182" y="1102519"/>
                  <a:pt x="3164300" y="997637"/>
                  <a:pt x="3031808" y="945356"/>
                </a:cubicBezTo>
                <a:cubicBezTo>
                  <a:pt x="2831783" y="866394"/>
                  <a:pt x="2355533" y="884111"/>
                  <a:pt x="2133600" y="884111"/>
                </a:cubicBezTo>
                <a:cubicBezTo>
                  <a:pt x="1911668" y="884111"/>
                  <a:pt x="1435894" y="865727"/>
                  <a:pt x="1235297" y="945356"/>
                </a:cubicBezTo>
                <a:cubicBezTo>
                  <a:pt x="1102804" y="997637"/>
                  <a:pt x="997923" y="1102519"/>
                  <a:pt x="945642" y="1235012"/>
                </a:cubicBezTo>
                <a:cubicBezTo>
                  <a:pt x="866775" y="1435037"/>
                  <a:pt x="884396" y="1911763"/>
                  <a:pt x="884396" y="2133505"/>
                </a:cubicBezTo>
                <a:cubicBezTo>
                  <a:pt x="884396" y="2355247"/>
                  <a:pt x="866775" y="2831402"/>
                  <a:pt x="946023" y="3032093"/>
                </a:cubicBezTo>
                <a:cubicBezTo>
                  <a:pt x="998304" y="3164586"/>
                  <a:pt x="1103185" y="3269467"/>
                  <a:pt x="1235678" y="3321749"/>
                </a:cubicBezTo>
                <a:cubicBezTo>
                  <a:pt x="1435703" y="3400711"/>
                  <a:pt x="1911953" y="3382995"/>
                  <a:pt x="2133981" y="3382995"/>
                </a:cubicBezTo>
                <a:cubicBezTo>
                  <a:pt x="2356009" y="3382995"/>
                  <a:pt x="2831592" y="3401378"/>
                  <a:pt x="3032189" y="3321749"/>
                </a:cubicBezTo>
                <a:cubicBezTo>
                  <a:pt x="3164681" y="3269467"/>
                  <a:pt x="3269563" y="3164586"/>
                  <a:pt x="3321844" y="3032093"/>
                </a:cubicBezTo>
                <a:cubicBezTo>
                  <a:pt x="3401378" y="2832068"/>
                  <a:pt x="3383090" y="2355342"/>
                  <a:pt x="3383090" y="2133600"/>
                </a:cubicBezTo>
                <a:cubicBezTo>
                  <a:pt x="3383090" y="1911858"/>
                  <a:pt x="3401378" y="1435799"/>
                  <a:pt x="3321844" y="1235107"/>
                </a:cubicBezTo>
                <a:close/>
                <a:moveTo>
                  <a:pt x="2133600" y="2914650"/>
                </a:moveTo>
                <a:cubicBezTo>
                  <a:pt x="1702238" y="2914650"/>
                  <a:pt x="1352550" y="2564962"/>
                  <a:pt x="1352550" y="2133600"/>
                </a:cubicBezTo>
                <a:cubicBezTo>
                  <a:pt x="1352550" y="1702238"/>
                  <a:pt x="1702238" y="1352550"/>
                  <a:pt x="2133600" y="1352550"/>
                </a:cubicBezTo>
                <a:cubicBezTo>
                  <a:pt x="2564962" y="1352550"/>
                  <a:pt x="2914650" y="1702238"/>
                  <a:pt x="2914650" y="2133600"/>
                </a:cubicBezTo>
                <a:cubicBezTo>
                  <a:pt x="2915177" y="2564436"/>
                  <a:pt x="2566342" y="2914124"/>
                  <a:pt x="2135506" y="2914650"/>
                </a:cubicBezTo>
                <a:cubicBezTo>
                  <a:pt x="2134871" y="2914651"/>
                  <a:pt x="2134236" y="2914651"/>
                  <a:pt x="2133600" y="2914650"/>
                </a:cubicBezTo>
                <a:close/>
                <a:moveTo>
                  <a:pt x="2946845" y="1502093"/>
                </a:moveTo>
                <a:cubicBezTo>
                  <a:pt x="2846158" y="1502145"/>
                  <a:pt x="2764494" y="1420566"/>
                  <a:pt x="2764441" y="1319879"/>
                </a:cubicBezTo>
                <a:cubicBezTo>
                  <a:pt x="2764388" y="1219193"/>
                  <a:pt x="2845968" y="1137528"/>
                  <a:pt x="2946654" y="1137476"/>
                </a:cubicBezTo>
                <a:cubicBezTo>
                  <a:pt x="3047341" y="1137423"/>
                  <a:pt x="3129005" y="1219003"/>
                  <a:pt x="3129058" y="1319689"/>
                </a:cubicBezTo>
                <a:cubicBezTo>
                  <a:pt x="3129058" y="1319721"/>
                  <a:pt x="3129058" y="1319752"/>
                  <a:pt x="3129058" y="1319784"/>
                </a:cubicBezTo>
                <a:cubicBezTo>
                  <a:pt x="3129479" y="1420259"/>
                  <a:pt x="3048369" y="1502051"/>
                  <a:pt x="2947894" y="1502472"/>
                </a:cubicBezTo>
                <a:cubicBezTo>
                  <a:pt x="2947671" y="1502473"/>
                  <a:pt x="2947448" y="1502473"/>
                  <a:pt x="2947226" y="1502474"/>
                </a:cubicBezTo>
                <a:close/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  <a:moveTo>
                  <a:pt x="3646932" y="2762250"/>
                </a:moveTo>
                <a:cubicBezTo>
                  <a:pt x="3634645" y="3006376"/>
                  <a:pt x="3578924" y="3222689"/>
                  <a:pt x="3400711" y="3400425"/>
                </a:cubicBezTo>
                <a:cubicBezTo>
                  <a:pt x="3222498" y="3578162"/>
                  <a:pt x="3006376" y="3635026"/>
                  <a:pt x="2762536" y="3646646"/>
                </a:cubicBezTo>
                <a:cubicBezTo>
                  <a:pt x="2510981" y="3660839"/>
                  <a:pt x="1756791" y="3660839"/>
                  <a:pt x="1505236" y="3646646"/>
                </a:cubicBezTo>
                <a:cubicBezTo>
                  <a:pt x="1261110" y="3634359"/>
                  <a:pt x="1045559" y="3578543"/>
                  <a:pt x="867061" y="3400425"/>
                </a:cubicBezTo>
                <a:cubicBezTo>
                  <a:pt x="688562" y="3222308"/>
                  <a:pt x="632460" y="3005899"/>
                  <a:pt x="620840" y="2762250"/>
                </a:cubicBezTo>
                <a:cubicBezTo>
                  <a:pt x="606647" y="2510599"/>
                  <a:pt x="606647" y="1756315"/>
                  <a:pt x="620840" y="1504950"/>
                </a:cubicBezTo>
                <a:cubicBezTo>
                  <a:pt x="633127" y="1260824"/>
                  <a:pt x="688181" y="1044512"/>
                  <a:pt x="867061" y="866775"/>
                </a:cubicBezTo>
                <a:cubicBezTo>
                  <a:pt x="1045940" y="689038"/>
                  <a:pt x="1262063" y="632841"/>
                  <a:pt x="1505236" y="621221"/>
                </a:cubicBezTo>
                <a:cubicBezTo>
                  <a:pt x="1756791" y="607028"/>
                  <a:pt x="2510981" y="607028"/>
                  <a:pt x="2762536" y="621221"/>
                </a:cubicBezTo>
                <a:cubicBezTo>
                  <a:pt x="3006662" y="633508"/>
                  <a:pt x="3222879" y="689324"/>
                  <a:pt x="3400711" y="867442"/>
                </a:cubicBezTo>
                <a:cubicBezTo>
                  <a:pt x="3578543" y="1045559"/>
                  <a:pt x="3635312" y="1261967"/>
                  <a:pt x="3646932" y="1506093"/>
                </a:cubicBezTo>
                <a:cubicBezTo>
                  <a:pt x="3661124" y="1756791"/>
                  <a:pt x="3661124" y="2510409"/>
                  <a:pt x="3646932" y="276225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74" name="Gruppieren 33">
            <a:extLst>
              <a:ext uri="{FF2B5EF4-FFF2-40B4-BE49-F238E27FC236}">
                <a16:creationId xmlns:a16="http://schemas.microsoft.com/office/drawing/2014/main" id="{1CC18D3B-A51F-4032-8167-CAA120234157}"/>
              </a:ext>
            </a:extLst>
          </p:cNvPr>
          <p:cNvGrpSpPr>
            <a:grpSpLocks/>
          </p:cNvGrpSpPr>
          <p:nvPr/>
        </p:nvGrpSpPr>
        <p:grpSpPr>
          <a:xfrm>
            <a:off x="8879910" y="2518169"/>
            <a:ext cx="2243792" cy="1001302"/>
            <a:chOff x="3203008" y="2315105"/>
            <a:chExt cx="2577579" cy="1001302"/>
          </a:xfrm>
        </p:grpSpPr>
        <p:sp>
          <p:nvSpPr>
            <p:cNvPr id="75" name="Copy contact 2">
              <a:extLst>
                <a:ext uri="{FF2B5EF4-FFF2-40B4-BE49-F238E27FC236}">
                  <a16:creationId xmlns:a16="http://schemas.microsoft.com/office/drawing/2014/main" id="{0EEA7E39-235B-4AA0-BA25-56B4E13340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315105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wechat}</a:t>
              </a:r>
            </a:p>
          </p:txBody>
        </p:sp>
        <p:sp>
          <p:nvSpPr>
            <p:cNvPr id="76" name="Copy contact 2">
              <a:extLst>
                <a:ext uri="{FF2B5EF4-FFF2-40B4-BE49-F238E27FC236}">
                  <a16:creationId xmlns:a16="http://schemas.microsoft.com/office/drawing/2014/main" id="{AC51AE99-5524-4A9E-89C8-9AFBA969D9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587317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phone_number}</a:t>
              </a:r>
            </a:p>
          </p:txBody>
        </p:sp>
        <p:sp>
          <p:nvSpPr>
            <p:cNvPr id="77" name="Copy contact 2">
              <a:extLst>
                <a:ext uri="{FF2B5EF4-FFF2-40B4-BE49-F238E27FC236}">
                  <a16:creationId xmlns:a16="http://schemas.microsoft.com/office/drawing/2014/main" id="{515E1606-9DD3-4072-BE99-255234356A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859529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mobile_number}</a:t>
              </a:r>
            </a:p>
          </p:txBody>
        </p:sp>
        <p:sp>
          <p:nvSpPr>
            <p:cNvPr id="78" name="Copy contact 2">
              <a:extLst>
                <a:ext uri="{FF2B5EF4-FFF2-40B4-BE49-F238E27FC236}">
                  <a16:creationId xmlns:a16="http://schemas.microsoft.com/office/drawing/2014/main" id="{DCDCD781-59F6-4B93-A865-A21B1F9E6F6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3131741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2_facebook}</a:t>
              </a:r>
            </a:p>
          </p:txBody>
        </p:sp>
      </p:grpSp>
      <p:sp>
        <p:nvSpPr>
          <p:cNvPr id="80" name="Copy contact 1">
            <a:extLst>
              <a:ext uri="{FF2B5EF4-FFF2-40B4-BE49-F238E27FC236}">
                <a16:creationId xmlns:a16="http://schemas.microsoft.com/office/drawing/2014/main" id="{75383E37-918F-4C2E-A428-A0223189C03A}"/>
              </a:ext>
            </a:extLst>
          </p:cNvPr>
          <p:cNvSpPr>
            <a:spLocks/>
          </p:cNvSpPr>
          <p:nvPr/>
        </p:nvSpPr>
        <p:spPr bwMode="gray">
          <a:xfrm>
            <a:off x="2957892" y="4109467"/>
            <a:ext cx="2577579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}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_position}</a:t>
            </a:r>
          </a:p>
        </p:txBody>
      </p:sp>
      <p:sp>
        <p:nvSpPr>
          <p:cNvPr id="81" name="Rectangle 90">
            <a:extLst>
              <a:ext uri="{FF2B5EF4-FFF2-40B4-BE49-F238E27FC236}">
                <a16:creationId xmlns:a16="http://schemas.microsoft.com/office/drawing/2014/main" id="{E6AB3AE7-BCE8-4A4A-877D-68F11FEC7CB9}"/>
              </a:ext>
            </a:extLst>
          </p:cNvPr>
          <p:cNvSpPr>
            <a:spLocks/>
          </p:cNvSpPr>
          <p:nvPr/>
        </p:nvSpPr>
        <p:spPr bwMode="auto">
          <a:xfrm>
            <a:off x="507770" y="4109467"/>
            <a:ext cx="2160000" cy="2160000"/>
          </a:xfrm>
          <a:prstGeom prst="teardrop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82" name="Grafik 5">
            <a:extLst>
              <a:ext uri="{FF2B5EF4-FFF2-40B4-BE49-F238E27FC236}">
                <a16:creationId xmlns:a16="http://schemas.microsoft.com/office/drawing/2014/main" id="{5DAF0DAD-19F5-4567-8AFC-0CD5163AE0BD}"/>
              </a:ext>
            </a:extLst>
          </p:cNvPr>
          <p:cNvSpPr>
            <a:spLocks/>
          </p:cNvSpPr>
          <p:nvPr/>
        </p:nvSpPr>
        <p:spPr>
          <a:xfrm>
            <a:off x="2957892" y="5261067"/>
            <a:ext cx="216805" cy="216805"/>
          </a:xfrm>
          <a:custGeom>
            <a:avLst/>
            <a:gdLst>
              <a:gd name="connsiteX0" fmla="*/ 3962400 w 4267200"/>
              <a:gd name="connsiteY0" fmla="*/ 0 h 4267200"/>
              <a:gd name="connsiteX1" fmla="*/ 303848 w 4267200"/>
              <a:gd name="connsiteY1" fmla="*/ 0 h 4267200"/>
              <a:gd name="connsiteX2" fmla="*/ 0 w 4267200"/>
              <a:gd name="connsiteY2" fmla="*/ 307658 h 4267200"/>
              <a:gd name="connsiteX3" fmla="*/ 0 w 4267200"/>
              <a:gd name="connsiteY3" fmla="*/ 3959543 h 4267200"/>
              <a:gd name="connsiteX4" fmla="*/ 303848 w 4267200"/>
              <a:gd name="connsiteY4" fmla="*/ 4267200 h 4267200"/>
              <a:gd name="connsiteX5" fmla="*/ 3962400 w 4267200"/>
              <a:gd name="connsiteY5" fmla="*/ 4267200 h 4267200"/>
              <a:gd name="connsiteX6" fmla="*/ 4267200 w 4267200"/>
              <a:gd name="connsiteY6" fmla="*/ 3959543 h 4267200"/>
              <a:gd name="connsiteX7" fmla="*/ 4267200 w 4267200"/>
              <a:gd name="connsiteY7" fmla="*/ 307658 h 4267200"/>
              <a:gd name="connsiteX8" fmla="*/ 3962400 w 4267200"/>
              <a:gd name="connsiteY8" fmla="*/ 0 h 4267200"/>
              <a:gd name="connsiteX9" fmla="*/ 1289685 w 4267200"/>
              <a:gd name="connsiteY9" fmla="*/ 3657600 h 4267200"/>
              <a:gd name="connsiteX10" fmla="*/ 657225 w 4267200"/>
              <a:gd name="connsiteY10" fmla="*/ 3657600 h 4267200"/>
              <a:gd name="connsiteX11" fmla="*/ 657225 w 4267200"/>
              <a:gd name="connsiteY11" fmla="*/ 1621155 h 4267200"/>
              <a:gd name="connsiteX12" fmla="*/ 1290638 w 4267200"/>
              <a:gd name="connsiteY12" fmla="*/ 1621155 h 4267200"/>
              <a:gd name="connsiteX13" fmla="*/ 1290638 w 4267200"/>
              <a:gd name="connsiteY13" fmla="*/ 3657600 h 4267200"/>
              <a:gd name="connsiteX14" fmla="*/ 973455 w 4267200"/>
              <a:gd name="connsiteY14" fmla="*/ 1343025 h 4267200"/>
              <a:gd name="connsiteX15" fmla="*/ 606743 w 4267200"/>
              <a:gd name="connsiteY15" fmla="*/ 976313 h 4267200"/>
              <a:gd name="connsiteX16" fmla="*/ 973455 w 4267200"/>
              <a:gd name="connsiteY16" fmla="*/ 609600 h 4267200"/>
              <a:gd name="connsiteX17" fmla="*/ 1340168 w 4267200"/>
              <a:gd name="connsiteY17" fmla="*/ 976313 h 4267200"/>
              <a:gd name="connsiteX18" fmla="*/ 973455 w 4267200"/>
              <a:gd name="connsiteY18" fmla="*/ 1343025 h 4267200"/>
              <a:gd name="connsiteX19" fmla="*/ 3660458 w 4267200"/>
              <a:gd name="connsiteY19" fmla="*/ 3657600 h 4267200"/>
              <a:gd name="connsiteX20" fmla="*/ 3027998 w 4267200"/>
              <a:gd name="connsiteY20" fmla="*/ 3657600 h 4267200"/>
              <a:gd name="connsiteX21" fmla="*/ 3027998 w 4267200"/>
              <a:gd name="connsiteY21" fmla="*/ 2667000 h 4267200"/>
              <a:gd name="connsiteX22" fmla="*/ 2699385 w 4267200"/>
              <a:gd name="connsiteY22" fmla="*/ 2126933 h 4267200"/>
              <a:gd name="connsiteX23" fmla="*/ 2319338 w 4267200"/>
              <a:gd name="connsiteY23" fmla="*/ 2649855 h 4267200"/>
              <a:gd name="connsiteX24" fmla="*/ 2319338 w 4267200"/>
              <a:gd name="connsiteY24" fmla="*/ 3657600 h 4267200"/>
              <a:gd name="connsiteX25" fmla="*/ 1686878 w 4267200"/>
              <a:gd name="connsiteY25" fmla="*/ 3657600 h 4267200"/>
              <a:gd name="connsiteX26" fmla="*/ 1686878 w 4267200"/>
              <a:gd name="connsiteY26" fmla="*/ 1621155 h 4267200"/>
              <a:gd name="connsiteX27" fmla="*/ 2293620 w 4267200"/>
              <a:gd name="connsiteY27" fmla="*/ 1621155 h 4267200"/>
              <a:gd name="connsiteX28" fmla="*/ 2293620 w 4267200"/>
              <a:gd name="connsiteY28" fmla="*/ 1899285 h 4267200"/>
              <a:gd name="connsiteX29" fmla="*/ 2302193 w 4267200"/>
              <a:gd name="connsiteY29" fmla="*/ 1899285 h 4267200"/>
              <a:gd name="connsiteX30" fmla="*/ 2901315 w 4267200"/>
              <a:gd name="connsiteY30" fmla="*/ 1570673 h 4267200"/>
              <a:gd name="connsiteX31" fmla="*/ 3660458 w 4267200"/>
              <a:gd name="connsiteY31" fmla="*/ 2541270 h 4267200"/>
              <a:gd name="connsiteX32" fmla="*/ 3660458 w 4267200"/>
              <a:gd name="connsiteY32" fmla="*/ 36576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267200" h="4267200">
                <a:moveTo>
                  <a:pt x="3962400" y="0"/>
                </a:moveTo>
                <a:lnTo>
                  <a:pt x="303848" y="0"/>
                </a:lnTo>
                <a:cubicBezTo>
                  <a:pt x="136208" y="0"/>
                  <a:pt x="0" y="138113"/>
                  <a:pt x="0" y="307658"/>
                </a:cubicBezTo>
                <a:lnTo>
                  <a:pt x="0" y="3959543"/>
                </a:lnTo>
                <a:cubicBezTo>
                  <a:pt x="0" y="4129088"/>
                  <a:pt x="136208" y="4267200"/>
                  <a:pt x="303848" y="4267200"/>
                </a:cubicBezTo>
                <a:lnTo>
                  <a:pt x="3962400" y="4267200"/>
                </a:lnTo>
                <a:cubicBezTo>
                  <a:pt x="4130040" y="4267200"/>
                  <a:pt x="4267200" y="4129088"/>
                  <a:pt x="4267200" y="3959543"/>
                </a:cubicBezTo>
                <a:lnTo>
                  <a:pt x="4267200" y="307658"/>
                </a:lnTo>
                <a:cubicBezTo>
                  <a:pt x="4267200" y="138113"/>
                  <a:pt x="4130040" y="0"/>
                  <a:pt x="3962400" y="0"/>
                </a:cubicBezTo>
                <a:close/>
                <a:moveTo>
                  <a:pt x="1289685" y="3657600"/>
                </a:moveTo>
                <a:lnTo>
                  <a:pt x="657225" y="3657600"/>
                </a:lnTo>
                <a:lnTo>
                  <a:pt x="657225" y="1621155"/>
                </a:lnTo>
                <a:lnTo>
                  <a:pt x="1290638" y="1621155"/>
                </a:lnTo>
                <a:lnTo>
                  <a:pt x="1290638" y="3657600"/>
                </a:lnTo>
                <a:close/>
                <a:moveTo>
                  <a:pt x="973455" y="1343025"/>
                </a:moveTo>
                <a:cubicBezTo>
                  <a:pt x="770573" y="1343025"/>
                  <a:pt x="606743" y="1178243"/>
                  <a:pt x="606743" y="976313"/>
                </a:cubicBezTo>
                <a:cubicBezTo>
                  <a:pt x="606743" y="774383"/>
                  <a:pt x="770573" y="609600"/>
                  <a:pt x="973455" y="609600"/>
                </a:cubicBezTo>
                <a:cubicBezTo>
                  <a:pt x="1175385" y="609600"/>
                  <a:pt x="1340168" y="774383"/>
                  <a:pt x="1340168" y="976313"/>
                </a:cubicBezTo>
                <a:cubicBezTo>
                  <a:pt x="1340168" y="1179195"/>
                  <a:pt x="1176338" y="1343025"/>
                  <a:pt x="973455" y="1343025"/>
                </a:cubicBezTo>
                <a:close/>
                <a:moveTo>
                  <a:pt x="3660458" y="3657600"/>
                </a:moveTo>
                <a:lnTo>
                  <a:pt x="3027998" y="3657600"/>
                </a:lnTo>
                <a:lnTo>
                  <a:pt x="3027998" y="2667000"/>
                </a:lnTo>
                <a:cubicBezTo>
                  <a:pt x="3027998" y="2430780"/>
                  <a:pt x="3023235" y="2126933"/>
                  <a:pt x="2699385" y="2126933"/>
                </a:cubicBezTo>
                <a:cubicBezTo>
                  <a:pt x="2369820" y="2126933"/>
                  <a:pt x="2319338" y="2384108"/>
                  <a:pt x="2319338" y="2649855"/>
                </a:cubicBezTo>
                <a:lnTo>
                  <a:pt x="2319338" y="3657600"/>
                </a:lnTo>
                <a:lnTo>
                  <a:pt x="1686878" y="3657600"/>
                </a:lnTo>
                <a:lnTo>
                  <a:pt x="1686878" y="1621155"/>
                </a:lnTo>
                <a:lnTo>
                  <a:pt x="2293620" y="1621155"/>
                </a:lnTo>
                <a:lnTo>
                  <a:pt x="2293620" y="1899285"/>
                </a:lnTo>
                <a:lnTo>
                  <a:pt x="2302193" y="1899285"/>
                </a:lnTo>
                <a:cubicBezTo>
                  <a:pt x="2386965" y="1739265"/>
                  <a:pt x="2593658" y="1570673"/>
                  <a:pt x="2901315" y="1570673"/>
                </a:cubicBezTo>
                <a:cubicBezTo>
                  <a:pt x="3541395" y="1570673"/>
                  <a:pt x="3660458" y="1992630"/>
                  <a:pt x="3660458" y="2541270"/>
                </a:cubicBezTo>
                <a:lnTo>
                  <a:pt x="3660458" y="3657600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3" name="Grafik 18">
            <a:extLst>
              <a:ext uri="{FF2B5EF4-FFF2-40B4-BE49-F238E27FC236}">
                <a16:creationId xmlns:a16="http://schemas.microsoft.com/office/drawing/2014/main" id="{02C6CFC9-186E-436D-AF63-2C646CB63295}"/>
              </a:ext>
            </a:extLst>
          </p:cNvPr>
          <p:cNvSpPr>
            <a:spLocks/>
          </p:cNvSpPr>
          <p:nvPr/>
        </p:nvSpPr>
        <p:spPr>
          <a:xfrm>
            <a:off x="2957892" y="5805494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1764506 w 4267200"/>
              <a:gd name="connsiteY5" fmla="*/ 4267200 h 4267200"/>
              <a:gd name="connsiteX6" fmla="*/ 1764506 w 4267200"/>
              <a:gd name="connsiteY6" fmla="*/ 2816447 h 4267200"/>
              <a:gd name="connsiteX7" fmla="*/ 1164431 w 4267200"/>
              <a:gd name="connsiteY7" fmla="*/ 2816447 h 4267200"/>
              <a:gd name="connsiteX8" fmla="*/ 1164431 w 4267200"/>
              <a:gd name="connsiteY8" fmla="*/ 2133600 h 4267200"/>
              <a:gd name="connsiteX9" fmla="*/ 1764506 w 4267200"/>
              <a:gd name="connsiteY9" fmla="*/ 2133600 h 4267200"/>
              <a:gd name="connsiteX10" fmla="*/ 1764506 w 4267200"/>
              <a:gd name="connsiteY10" fmla="*/ 1613154 h 4267200"/>
              <a:gd name="connsiteX11" fmla="*/ 2656713 w 4267200"/>
              <a:gd name="connsiteY11" fmla="*/ 694182 h 4267200"/>
              <a:gd name="connsiteX12" fmla="*/ 3185541 w 4267200"/>
              <a:gd name="connsiteY12" fmla="*/ 740283 h 4267200"/>
              <a:gd name="connsiteX13" fmla="*/ 3185541 w 4267200"/>
              <a:gd name="connsiteY13" fmla="*/ 1321308 h 4267200"/>
              <a:gd name="connsiteX14" fmla="*/ 2887695 w 4267200"/>
              <a:gd name="connsiteY14" fmla="*/ 1321308 h 4267200"/>
              <a:gd name="connsiteX15" fmla="*/ 2502694 w 4267200"/>
              <a:gd name="connsiteY15" fmla="*/ 1690211 h 4267200"/>
              <a:gd name="connsiteX16" fmla="*/ 2502694 w 4267200"/>
              <a:gd name="connsiteY16" fmla="*/ 2133600 h 4267200"/>
              <a:gd name="connsiteX17" fmla="*/ 3157823 w 4267200"/>
              <a:gd name="connsiteY17" fmla="*/ 2133600 h 4267200"/>
              <a:gd name="connsiteX18" fmla="*/ 3053048 w 4267200"/>
              <a:gd name="connsiteY18" fmla="*/ 2816447 h 4267200"/>
              <a:gd name="connsiteX19" fmla="*/ 2502694 w 4267200"/>
              <a:gd name="connsiteY19" fmla="*/ 2816447 h 4267200"/>
              <a:gd name="connsiteX20" fmla="*/ 2502694 w 4267200"/>
              <a:gd name="connsiteY20" fmla="*/ 4267200 h 4267200"/>
              <a:gd name="connsiteX21" fmla="*/ 3810000 w 4267200"/>
              <a:gd name="connsiteY21" fmla="*/ 4267200 h 4267200"/>
              <a:gd name="connsiteX22" fmla="*/ 4267200 w 4267200"/>
              <a:gd name="connsiteY22" fmla="*/ 3810000 h 4267200"/>
              <a:gd name="connsiteX23" fmla="*/ 4267200 w 4267200"/>
              <a:gd name="connsiteY23" fmla="*/ 457200 h 4267200"/>
              <a:gd name="connsiteX24" fmla="*/ 3810000 w 4267200"/>
              <a:gd name="connsiteY24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1764506" y="4267200"/>
                </a:lnTo>
                <a:lnTo>
                  <a:pt x="1764506" y="2816447"/>
                </a:lnTo>
                <a:lnTo>
                  <a:pt x="1164431" y="2816447"/>
                </a:lnTo>
                <a:lnTo>
                  <a:pt x="1164431" y="2133600"/>
                </a:lnTo>
                <a:lnTo>
                  <a:pt x="1764506" y="2133600"/>
                </a:lnTo>
                <a:lnTo>
                  <a:pt x="1764506" y="1613154"/>
                </a:lnTo>
                <a:cubicBezTo>
                  <a:pt x="1764506" y="1021175"/>
                  <a:pt x="2116931" y="694182"/>
                  <a:pt x="2656713" y="694182"/>
                </a:cubicBezTo>
                <a:cubicBezTo>
                  <a:pt x="2915222" y="694182"/>
                  <a:pt x="3185541" y="740283"/>
                  <a:pt x="3185541" y="740283"/>
                </a:cubicBezTo>
                <a:lnTo>
                  <a:pt x="3185541" y="1321308"/>
                </a:lnTo>
                <a:lnTo>
                  <a:pt x="2887695" y="1321308"/>
                </a:lnTo>
                <a:cubicBezTo>
                  <a:pt x="2594229" y="1321308"/>
                  <a:pt x="2502694" y="1503426"/>
                  <a:pt x="2502694" y="1690211"/>
                </a:cubicBezTo>
                <a:lnTo>
                  <a:pt x="2502694" y="2133600"/>
                </a:lnTo>
                <a:lnTo>
                  <a:pt x="3157823" y="2133600"/>
                </a:lnTo>
                <a:lnTo>
                  <a:pt x="3053048" y="2816447"/>
                </a:lnTo>
                <a:lnTo>
                  <a:pt x="2502694" y="2816447"/>
                </a:lnTo>
                <a:lnTo>
                  <a:pt x="2502694" y="4267200"/>
                </a:ln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4" name="Grafik 21">
            <a:extLst>
              <a:ext uri="{FF2B5EF4-FFF2-40B4-BE49-F238E27FC236}">
                <a16:creationId xmlns:a16="http://schemas.microsoft.com/office/drawing/2014/main" id="{48CA725E-32CA-4AE5-B4E9-D3501FAFE445}"/>
              </a:ext>
            </a:extLst>
          </p:cNvPr>
          <p:cNvSpPr>
            <a:spLocks/>
          </p:cNvSpPr>
          <p:nvPr/>
        </p:nvSpPr>
        <p:spPr>
          <a:xfrm>
            <a:off x="2957892" y="4988854"/>
            <a:ext cx="216805" cy="216805"/>
          </a:xfrm>
          <a:custGeom>
            <a:avLst/>
            <a:gdLst>
              <a:gd name="connsiteX0" fmla="*/ 3810000 w 4267200"/>
              <a:gd name="connsiteY0" fmla="*/ 0 h 4267200"/>
              <a:gd name="connsiteX1" fmla="*/ 457200 w 4267200"/>
              <a:gd name="connsiteY1" fmla="*/ 0 h 4267200"/>
              <a:gd name="connsiteX2" fmla="*/ 0 w 4267200"/>
              <a:gd name="connsiteY2" fmla="*/ 457200 h 4267200"/>
              <a:gd name="connsiteX3" fmla="*/ 0 w 4267200"/>
              <a:gd name="connsiteY3" fmla="*/ 3810000 h 4267200"/>
              <a:gd name="connsiteX4" fmla="*/ 457200 w 4267200"/>
              <a:gd name="connsiteY4" fmla="*/ 4267200 h 4267200"/>
              <a:gd name="connsiteX5" fmla="*/ 3810000 w 4267200"/>
              <a:gd name="connsiteY5" fmla="*/ 4267200 h 4267200"/>
              <a:gd name="connsiteX6" fmla="*/ 4267200 w 4267200"/>
              <a:gd name="connsiteY6" fmla="*/ 3810000 h 4267200"/>
              <a:gd name="connsiteX7" fmla="*/ 4267200 w 4267200"/>
              <a:gd name="connsiteY7" fmla="*/ 457200 h 4267200"/>
              <a:gd name="connsiteX8" fmla="*/ 3810000 w 4267200"/>
              <a:gd name="connsiteY8" fmla="*/ 0 h 4267200"/>
              <a:gd name="connsiteX9" fmla="*/ 3344228 w 4267200"/>
              <a:gd name="connsiteY9" fmla="*/ 1512570 h 4267200"/>
              <a:gd name="connsiteX10" fmla="*/ 3346133 w 4267200"/>
              <a:gd name="connsiteY10" fmla="*/ 1593533 h 4267200"/>
              <a:gd name="connsiteX11" fmla="*/ 1568768 w 4267200"/>
              <a:gd name="connsiteY11" fmla="*/ 3370898 h 4267200"/>
              <a:gd name="connsiteX12" fmla="*/ 609600 w 4267200"/>
              <a:gd name="connsiteY12" fmla="*/ 3090863 h 4267200"/>
              <a:gd name="connsiteX13" fmla="*/ 760095 w 4267200"/>
              <a:gd name="connsiteY13" fmla="*/ 3098483 h 4267200"/>
              <a:gd name="connsiteX14" fmla="*/ 1535430 w 4267200"/>
              <a:gd name="connsiteY14" fmla="*/ 2831783 h 4267200"/>
              <a:gd name="connsiteX15" fmla="*/ 951548 w 4267200"/>
              <a:gd name="connsiteY15" fmla="*/ 2398395 h 4267200"/>
              <a:gd name="connsiteX16" fmla="*/ 1233488 w 4267200"/>
              <a:gd name="connsiteY16" fmla="*/ 2386965 h 4267200"/>
              <a:gd name="connsiteX17" fmla="*/ 733425 w 4267200"/>
              <a:gd name="connsiteY17" fmla="*/ 1773555 h 4267200"/>
              <a:gd name="connsiteX18" fmla="*/ 733425 w 4267200"/>
              <a:gd name="connsiteY18" fmla="*/ 1765935 h 4267200"/>
              <a:gd name="connsiteX19" fmla="*/ 1015365 w 4267200"/>
              <a:gd name="connsiteY19" fmla="*/ 1844993 h 4267200"/>
              <a:gd name="connsiteX20" fmla="*/ 737235 w 4267200"/>
              <a:gd name="connsiteY20" fmla="*/ 1324927 h 4267200"/>
              <a:gd name="connsiteX21" fmla="*/ 822008 w 4267200"/>
              <a:gd name="connsiteY21" fmla="*/ 1009650 h 4267200"/>
              <a:gd name="connsiteX22" fmla="*/ 2109788 w 4267200"/>
              <a:gd name="connsiteY22" fmla="*/ 1663065 h 4267200"/>
              <a:gd name="connsiteX23" fmla="*/ 2719388 w 4267200"/>
              <a:gd name="connsiteY23" fmla="*/ 895350 h 4267200"/>
              <a:gd name="connsiteX24" fmla="*/ 3175635 w 4267200"/>
              <a:gd name="connsiteY24" fmla="*/ 1092518 h 4267200"/>
              <a:gd name="connsiteX25" fmla="*/ 3571875 w 4267200"/>
              <a:gd name="connsiteY25" fmla="*/ 942022 h 4267200"/>
              <a:gd name="connsiteX26" fmla="*/ 3297555 w 4267200"/>
              <a:gd name="connsiteY26" fmla="*/ 1285875 h 4267200"/>
              <a:gd name="connsiteX27" fmla="*/ 3657600 w 4267200"/>
              <a:gd name="connsiteY27" fmla="*/ 1188720 h 4267200"/>
              <a:gd name="connsiteX28" fmla="*/ 3344228 w 4267200"/>
              <a:gd name="connsiteY28" fmla="*/ 151257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67200" h="4267200">
                <a:moveTo>
                  <a:pt x="3810000" y="0"/>
                </a:moveTo>
                <a:lnTo>
                  <a:pt x="457200" y="0"/>
                </a:lnTo>
                <a:cubicBezTo>
                  <a:pt x="204788" y="0"/>
                  <a:pt x="0" y="204788"/>
                  <a:pt x="0" y="457200"/>
                </a:cubicBezTo>
                <a:lnTo>
                  <a:pt x="0" y="3810000"/>
                </a:lnTo>
                <a:cubicBezTo>
                  <a:pt x="0" y="4062413"/>
                  <a:pt x="204788" y="4267200"/>
                  <a:pt x="457200" y="4267200"/>
                </a:cubicBezTo>
                <a:lnTo>
                  <a:pt x="3810000" y="4267200"/>
                </a:lnTo>
                <a:cubicBezTo>
                  <a:pt x="4062413" y="4267200"/>
                  <a:pt x="4267200" y="4062413"/>
                  <a:pt x="4267200" y="3810000"/>
                </a:cubicBezTo>
                <a:lnTo>
                  <a:pt x="4267200" y="457200"/>
                </a:lnTo>
                <a:cubicBezTo>
                  <a:pt x="4267200" y="204788"/>
                  <a:pt x="4062413" y="0"/>
                  <a:pt x="3810000" y="0"/>
                </a:cubicBezTo>
                <a:close/>
                <a:moveTo>
                  <a:pt x="3344228" y="1512570"/>
                </a:moveTo>
                <a:cubicBezTo>
                  <a:pt x="3346133" y="1539240"/>
                  <a:pt x="3346133" y="1566863"/>
                  <a:pt x="3346133" y="1593533"/>
                </a:cubicBezTo>
                <a:cubicBezTo>
                  <a:pt x="3346133" y="2419350"/>
                  <a:pt x="2717483" y="3370898"/>
                  <a:pt x="1568768" y="3370898"/>
                </a:cubicBezTo>
                <a:cubicBezTo>
                  <a:pt x="1214438" y="3370898"/>
                  <a:pt x="885825" y="3268028"/>
                  <a:pt x="609600" y="3090863"/>
                </a:cubicBezTo>
                <a:cubicBezTo>
                  <a:pt x="660083" y="3096578"/>
                  <a:pt x="708660" y="3098483"/>
                  <a:pt x="760095" y="3098483"/>
                </a:cubicBezTo>
                <a:cubicBezTo>
                  <a:pt x="1052513" y="3098483"/>
                  <a:pt x="1321118" y="2999423"/>
                  <a:pt x="1535430" y="2831783"/>
                </a:cubicBezTo>
                <a:cubicBezTo>
                  <a:pt x="1261110" y="2826068"/>
                  <a:pt x="1030605" y="2646045"/>
                  <a:pt x="951548" y="2398395"/>
                </a:cubicBezTo>
                <a:cubicBezTo>
                  <a:pt x="1047750" y="2412683"/>
                  <a:pt x="1134428" y="2412683"/>
                  <a:pt x="1233488" y="2386965"/>
                </a:cubicBezTo>
                <a:cubicBezTo>
                  <a:pt x="947738" y="2328863"/>
                  <a:pt x="733425" y="2077403"/>
                  <a:pt x="733425" y="1773555"/>
                </a:cubicBezTo>
                <a:lnTo>
                  <a:pt x="733425" y="1765935"/>
                </a:lnTo>
                <a:cubicBezTo>
                  <a:pt x="816293" y="1812608"/>
                  <a:pt x="913448" y="1841183"/>
                  <a:pt x="1015365" y="1844993"/>
                </a:cubicBezTo>
                <a:cubicBezTo>
                  <a:pt x="841329" y="1729229"/>
                  <a:pt x="736893" y="1533948"/>
                  <a:pt x="737235" y="1324927"/>
                </a:cubicBezTo>
                <a:cubicBezTo>
                  <a:pt x="737235" y="1208723"/>
                  <a:pt x="767715" y="1102043"/>
                  <a:pt x="822008" y="1009650"/>
                </a:cubicBezTo>
                <a:cubicBezTo>
                  <a:pt x="1129665" y="1388745"/>
                  <a:pt x="1591628" y="1636395"/>
                  <a:pt x="2109788" y="1663065"/>
                </a:cubicBezTo>
                <a:cubicBezTo>
                  <a:pt x="2021205" y="1239203"/>
                  <a:pt x="2338388" y="895350"/>
                  <a:pt x="2719388" y="895350"/>
                </a:cubicBezTo>
                <a:cubicBezTo>
                  <a:pt x="2899410" y="895350"/>
                  <a:pt x="3061335" y="970597"/>
                  <a:pt x="3175635" y="1092518"/>
                </a:cubicBezTo>
                <a:cubicBezTo>
                  <a:pt x="3316605" y="1065848"/>
                  <a:pt x="3451860" y="1013460"/>
                  <a:pt x="3571875" y="942022"/>
                </a:cubicBezTo>
                <a:cubicBezTo>
                  <a:pt x="3525203" y="1086803"/>
                  <a:pt x="3427095" y="1208723"/>
                  <a:pt x="3297555" y="1285875"/>
                </a:cubicBezTo>
                <a:cubicBezTo>
                  <a:pt x="3423285" y="1272540"/>
                  <a:pt x="3545205" y="1237298"/>
                  <a:pt x="3657600" y="1188720"/>
                </a:cubicBezTo>
                <a:cubicBezTo>
                  <a:pt x="3572828" y="1313498"/>
                  <a:pt x="3466148" y="1423988"/>
                  <a:pt x="3344228" y="151257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85" name="Grafik 27">
            <a:extLst>
              <a:ext uri="{FF2B5EF4-FFF2-40B4-BE49-F238E27FC236}">
                <a16:creationId xmlns:a16="http://schemas.microsoft.com/office/drawing/2014/main" id="{BD344CFA-9E50-489B-8CC8-0AE4C97785DD}"/>
              </a:ext>
            </a:extLst>
          </p:cNvPr>
          <p:cNvSpPr>
            <a:spLocks/>
          </p:cNvSpPr>
          <p:nvPr/>
        </p:nvSpPr>
        <p:spPr>
          <a:xfrm>
            <a:off x="2957892" y="5533280"/>
            <a:ext cx="216805" cy="216805"/>
          </a:xfrm>
          <a:custGeom>
            <a:avLst/>
            <a:gdLst>
              <a:gd name="connsiteX0" fmla="*/ 2133600 w 4267200"/>
              <a:gd name="connsiteY0" fmla="*/ 1625537 h 4267200"/>
              <a:gd name="connsiteX1" fmla="*/ 1625727 w 4267200"/>
              <a:gd name="connsiteY1" fmla="*/ 2133791 h 4267200"/>
              <a:gd name="connsiteX2" fmla="*/ 2133981 w 4267200"/>
              <a:gd name="connsiteY2" fmla="*/ 2641664 h 4267200"/>
              <a:gd name="connsiteX3" fmla="*/ 2641854 w 4267200"/>
              <a:gd name="connsiteY3" fmla="*/ 2133600 h 4267200"/>
              <a:gd name="connsiteX4" fmla="*/ 2133600 w 4267200"/>
              <a:gd name="connsiteY4" fmla="*/ 1625537 h 4267200"/>
              <a:gd name="connsiteX5" fmla="*/ 3321463 w 4267200"/>
              <a:gd name="connsiteY5" fmla="*/ 1235012 h 4267200"/>
              <a:gd name="connsiteX6" fmla="*/ 3031808 w 4267200"/>
              <a:gd name="connsiteY6" fmla="*/ 945356 h 4267200"/>
              <a:gd name="connsiteX7" fmla="*/ 2133600 w 4267200"/>
              <a:gd name="connsiteY7" fmla="*/ 884111 h 4267200"/>
              <a:gd name="connsiteX8" fmla="*/ 1235297 w 4267200"/>
              <a:gd name="connsiteY8" fmla="*/ 945356 h 4267200"/>
              <a:gd name="connsiteX9" fmla="*/ 945642 w 4267200"/>
              <a:gd name="connsiteY9" fmla="*/ 1235012 h 4267200"/>
              <a:gd name="connsiteX10" fmla="*/ 884396 w 4267200"/>
              <a:gd name="connsiteY10" fmla="*/ 2133505 h 4267200"/>
              <a:gd name="connsiteX11" fmla="*/ 946023 w 4267200"/>
              <a:gd name="connsiteY11" fmla="*/ 3032093 h 4267200"/>
              <a:gd name="connsiteX12" fmla="*/ 1235678 w 4267200"/>
              <a:gd name="connsiteY12" fmla="*/ 3321749 h 4267200"/>
              <a:gd name="connsiteX13" fmla="*/ 2133981 w 4267200"/>
              <a:gd name="connsiteY13" fmla="*/ 3382995 h 4267200"/>
              <a:gd name="connsiteX14" fmla="*/ 3032189 w 4267200"/>
              <a:gd name="connsiteY14" fmla="*/ 3321749 h 4267200"/>
              <a:gd name="connsiteX15" fmla="*/ 3321844 w 4267200"/>
              <a:gd name="connsiteY15" fmla="*/ 3032093 h 4267200"/>
              <a:gd name="connsiteX16" fmla="*/ 3383090 w 4267200"/>
              <a:gd name="connsiteY16" fmla="*/ 2133600 h 4267200"/>
              <a:gd name="connsiteX17" fmla="*/ 3321844 w 4267200"/>
              <a:gd name="connsiteY17" fmla="*/ 1235107 h 4267200"/>
              <a:gd name="connsiteX18" fmla="*/ 2133600 w 4267200"/>
              <a:gd name="connsiteY18" fmla="*/ 2914650 h 4267200"/>
              <a:gd name="connsiteX19" fmla="*/ 1352550 w 4267200"/>
              <a:gd name="connsiteY19" fmla="*/ 2133600 h 4267200"/>
              <a:gd name="connsiteX20" fmla="*/ 2133600 w 4267200"/>
              <a:gd name="connsiteY20" fmla="*/ 1352550 h 4267200"/>
              <a:gd name="connsiteX21" fmla="*/ 2914650 w 4267200"/>
              <a:gd name="connsiteY21" fmla="*/ 2133600 h 4267200"/>
              <a:gd name="connsiteX22" fmla="*/ 2135506 w 4267200"/>
              <a:gd name="connsiteY22" fmla="*/ 2914650 h 4267200"/>
              <a:gd name="connsiteX23" fmla="*/ 2133600 w 4267200"/>
              <a:gd name="connsiteY23" fmla="*/ 2914650 h 4267200"/>
              <a:gd name="connsiteX24" fmla="*/ 2946845 w 4267200"/>
              <a:gd name="connsiteY24" fmla="*/ 1502093 h 4267200"/>
              <a:gd name="connsiteX25" fmla="*/ 2764441 w 4267200"/>
              <a:gd name="connsiteY25" fmla="*/ 1319879 h 4267200"/>
              <a:gd name="connsiteX26" fmla="*/ 2946654 w 4267200"/>
              <a:gd name="connsiteY26" fmla="*/ 1137476 h 4267200"/>
              <a:gd name="connsiteX27" fmla="*/ 3129058 w 4267200"/>
              <a:gd name="connsiteY27" fmla="*/ 1319689 h 4267200"/>
              <a:gd name="connsiteX28" fmla="*/ 3129058 w 4267200"/>
              <a:gd name="connsiteY28" fmla="*/ 1319784 h 4267200"/>
              <a:gd name="connsiteX29" fmla="*/ 2947894 w 4267200"/>
              <a:gd name="connsiteY29" fmla="*/ 1502472 h 4267200"/>
              <a:gd name="connsiteX30" fmla="*/ 2947226 w 4267200"/>
              <a:gd name="connsiteY30" fmla="*/ 1502474 h 4267200"/>
              <a:gd name="connsiteX31" fmla="*/ 3810000 w 4267200"/>
              <a:gd name="connsiteY31" fmla="*/ 0 h 4267200"/>
              <a:gd name="connsiteX32" fmla="*/ 457200 w 4267200"/>
              <a:gd name="connsiteY32" fmla="*/ 0 h 4267200"/>
              <a:gd name="connsiteX33" fmla="*/ 0 w 4267200"/>
              <a:gd name="connsiteY33" fmla="*/ 457200 h 4267200"/>
              <a:gd name="connsiteX34" fmla="*/ 0 w 4267200"/>
              <a:gd name="connsiteY34" fmla="*/ 3810000 h 4267200"/>
              <a:gd name="connsiteX35" fmla="*/ 457200 w 4267200"/>
              <a:gd name="connsiteY35" fmla="*/ 4267200 h 4267200"/>
              <a:gd name="connsiteX36" fmla="*/ 3810000 w 4267200"/>
              <a:gd name="connsiteY36" fmla="*/ 4267200 h 4267200"/>
              <a:gd name="connsiteX37" fmla="*/ 4267200 w 4267200"/>
              <a:gd name="connsiteY37" fmla="*/ 3810000 h 4267200"/>
              <a:gd name="connsiteX38" fmla="*/ 4267200 w 4267200"/>
              <a:gd name="connsiteY38" fmla="*/ 457200 h 4267200"/>
              <a:gd name="connsiteX39" fmla="*/ 3810000 w 4267200"/>
              <a:gd name="connsiteY39" fmla="*/ 0 h 4267200"/>
              <a:gd name="connsiteX40" fmla="*/ 3646932 w 4267200"/>
              <a:gd name="connsiteY40" fmla="*/ 2762250 h 4267200"/>
              <a:gd name="connsiteX41" fmla="*/ 3400711 w 4267200"/>
              <a:gd name="connsiteY41" fmla="*/ 3400425 h 4267200"/>
              <a:gd name="connsiteX42" fmla="*/ 2762536 w 4267200"/>
              <a:gd name="connsiteY42" fmla="*/ 3646646 h 4267200"/>
              <a:gd name="connsiteX43" fmla="*/ 1505236 w 4267200"/>
              <a:gd name="connsiteY43" fmla="*/ 3646646 h 4267200"/>
              <a:gd name="connsiteX44" fmla="*/ 867061 w 4267200"/>
              <a:gd name="connsiteY44" fmla="*/ 3400425 h 4267200"/>
              <a:gd name="connsiteX45" fmla="*/ 620840 w 4267200"/>
              <a:gd name="connsiteY45" fmla="*/ 2762250 h 4267200"/>
              <a:gd name="connsiteX46" fmla="*/ 620840 w 4267200"/>
              <a:gd name="connsiteY46" fmla="*/ 1504950 h 4267200"/>
              <a:gd name="connsiteX47" fmla="*/ 867061 w 4267200"/>
              <a:gd name="connsiteY47" fmla="*/ 866775 h 4267200"/>
              <a:gd name="connsiteX48" fmla="*/ 1505236 w 4267200"/>
              <a:gd name="connsiteY48" fmla="*/ 621221 h 4267200"/>
              <a:gd name="connsiteX49" fmla="*/ 2762536 w 4267200"/>
              <a:gd name="connsiteY49" fmla="*/ 621221 h 4267200"/>
              <a:gd name="connsiteX50" fmla="*/ 3400711 w 4267200"/>
              <a:gd name="connsiteY50" fmla="*/ 867442 h 4267200"/>
              <a:gd name="connsiteX51" fmla="*/ 3646932 w 4267200"/>
              <a:gd name="connsiteY51" fmla="*/ 1506093 h 4267200"/>
              <a:gd name="connsiteX52" fmla="*/ 3646932 w 4267200"/>
              <a:gd name="connsiteY52" fmla="*/ 276225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267200" h="4267200">
                <a:moveTo>
                  <a:pt x="2133600" y="1625537"/>
                </a:moveTo>
                <a:cubicBezTo>
                  <a:pt x="1853004" y="1625642"/>
                  <a:pt x="1625622" y="1853195"/>
                  <a:pt x="1625727" y="2133791"/>
                </a:cubicBezTo>
                <a:cubicBezTo>
                  <a:pt x="1625832" y="2414386"/>
                  <a:pt x="1853385" y="2641769"/>
                  <a:pt x="2133981" y="2641664"/>
                </a:cubicBezTo>
                <a:cubicBezTo>
                  <a:pt x="2414502" y="2641558"/>
                  <a:pt x="2641854" y="2414121"/>
                  <a:pt x="2641854" y="2133600"/>
                </a:cubicBezTo>
                <a:cubicBezTo>
                  <a:pt x="2641644" y="1853017"/>
                  <a:pt x="2414183" y="1625642"/>
                  <a:pt x="2133600" y="1625537"/>
                </a:cubicBezTo>
                <a:close/>
                <a:moveTo>
                  <a:pt x="3321463" y="1235012"/>
                </a:moveTo>
                <a:cubicBezTo>
                  <a:pt x="3269182" y="1102519"/>
                  <a:pt x="3164300" y="997637"/>
                  <a:pt x="3031808" y="945356"/>
                </a:cubicBezTo>
                <a:cubicBezTo>
                  <a:pt x="2831783" y="866394"/>
                  <a:pt x="2355533" y="884111"/>
                  <a:pt x="2133600" y="884111"/>
                </a:cubicBezTo>
                <a:cubicBezTo>
                  <a:pt x="1911668" y="884111"/>
                  <a:pt x="1435894" y="865727"/>
                  <a:pt x="1235297" y="945356"/>
                </a:cubicBezTo>
                <a:cubicBezTo>
                  <a:pt x="1102804" y="997637"/>
                  <a:pt x="997923" y="1102519"/>
                  <a:pt x="945642" y="1235012"/>
                </a:cubicBezTo>
                <a:cubicBezTo>
                  <a:pt x="866775" y="1435037"/>
                  <a:pt x="884396" y="1911763"/>
                  <a:pt x="884396" y="2133505"/>
                </a:cubicBezTo>
                <a:cubicBezTo>
                  <a:pt x="884396" y="2355247"/>
                  <a:pt x="866775" y="2831402"/>
                  <a:pt x="946023" y="3032093"/>
                </a:cubicBezTo>
                <a:cubicBezTo>
                  <a:pt x="998304" y="3164586"/>
                  <a:pt x="1103185" y="3269467"/>
                  <a:pt x="1235678" y="3321749"/>
                </a:cubicBezTo>
                <a:cubicBezTo>
                  <a:pt x="1435703" y="3400711"/>
                  <a:pt x="1911953" y="3382995"/>
                  <a:pt x="2133981" y="3382995"/>
                </a:cubicBezTo>
                <a:cubicBezTo>
                  <a:pt x="2356009" y="3382995"/>
                  <a:pt x="2831592" y="3401378"/>
                  <a:pt x="3032189" y="3321749"/>
                </a:cubicBezTo>
                <a:cubicBezTo>
                  <a:pt x="3164681" y="3269467"/>
                  <a:pt x="3269563" y="3164586"/>
                  <a:pt x="3321844" y="3032093"/>
                </a:cubicBezTo>
                <a:cubicBezTo>
                  <a:pt x="3401378" y="2832068"/>
                  <a:pt x="3383090" y="2355342"/>
                  <a:pt x="3383090" y="2133600"/>
                </a:cubicBezTo>
                <a:cubicBezTo>
                  <a:pt x="3383090" y="1911858"/>
                  <a:pt x="3401378" y="1435799"/>
                  <a:pt x="3321844" y="1235107"/>
                </a:cubicBezTo>
                <a:close/>
                <a:moveTo>
                  <a:pt x="2133600" y="2914650"/>
                </a:moveTo>
                <a:cubicBezTo>
                  <a:pt x="1702238" y="2914650"/>
                  <a:pt x="1352550" y="2564962"/>
                  <a:pt x="1352550" y="2133600"/>
                </a:cubicBezTo>
                <a:cubicBezTo>
                  <a:pt x="1352550" y="1702238"/>
                  <a:pt x="1702238" y="1352550"/>
                  <a:pt x="2133600" y="1352550"/>
                </a:cubicBezTo>
                <a:cubicBezTo>
                  <a:pt x="2564962" y="1352550"/>
                  <a:pt x="2914650" y="1702238"/>
                  <a:pt x="2914650" y="2133600"/>
                </a:cubicBezTo>
                <a:cubicBezTo>
                  <a:pt x="2915177" y="2564436"/>
                  <a:pt x="2566342" y="2914124"/>
                  <a:pt x="2135506" y="2914650"/>
                </a:cubicBezTo>
                <a:cubicBezTo>
                  <a:pt x="2134871" y="2914651"/>
                  <a:pt x="2134236" y="2914651"/>
                  <a:pt x="2133600" y="2914650"/>
                </a:cubicBezTo>
                <a:close/>
                <a:moveTo>
                  <a:pt x="2946845" y="1502093"/>
                </a:moveTo>
                <a:cubicBezTo>
                  <a:pt x="2846158" y="1502145"/>
                  <a:pt x="2764494" y="1420566"/>
                  <a:pt x="2764441" y="1319879"/>
                </a:cubicBezTo>
                <a:cubicBezTo>
                  <a:pt x="2764388" y="1219193"/>
                  <a:pt x="2845968" y="1137528"/>
                  <a:pt x="2946654" y="1137476"/>
                </a:cubicBezTo>
                <a:cubicBezTo>
                  <a:pt x="3047341" y="1137423"/>
                  <a:pt x="3129005" y="1219003"/>
                  <a:pt x="3129058" y="1319689"/>
                </a:cubicBezTo>
                <a:cubicBezTo>
                  <a:pt x="3129058" y="1319721"/>
                  <a:pt x="3129058" y="1319752"/>
                  <a:pt x="3129058" y="1319784"/>
                </a:cubicBezTo>
                <a:cubicBezTo>
                  <a:pt x="3129479" y="1420259"/>
                  <a:pt x="3048369" y="1502051"/>
                  <a:pt x="2947894" y="1502472"/>
                </a:cubicBezTo>
                <a:cubicBezTo>
                  <a:pt x="2947671" y="1502473"/>
                  <a:pt x="2947448" y="1502473"/>
                  <a:pt x="2947226" y="1502474"/>
                </a:cubicBezTo>
                <a:close/>
                <a:moveTo>
                  <a:pt x="3810000" y="0"/>
                </a:moveTo>
                <a:lnTo>
                  <a:pt x="457200" y="0"/>
                </a:lnTo>
                <a:cubicBezTo>
                  <a:pt x="204695" y="0"/>
                  <a:pt x="0" y="204695"/>
                  <a:pt x="0" y="457200"/>
                </a:cubicBezTo>
                <a:lnTo>
                  <a:pt x="0" y="3810000"/>
                </a:lnTo>
                <a:cubicBezTo>
                  <a:pt x="0" y="4062505"/>
                  <a:pt x="204695" y="4267200"/>
                  <a:pt x="457200" y="4267200"/>
                </a:cubicBezTo>
                <a:lnTo>
                  <a:pt x="3810000" y="4267200"/>
                </a:lnTo>
                <a:cubicBezTo>
                  <a:pt x="4062505" y="4267200"/>
                  <a:pt x="4267200" y="4062505"/>
                  <a:pt x="4267200" y="3810000"/>
                </a:cubicBezTo>
                <a:lnTo>
                  <a:pt x="4267200" y="457200"/>
                </a:lnTo>
                <a:cubicBezTo>
                  <a:pt x="4267200" y="204695"/>
                  <a:pt x="4062505" y="0"/>
                  <a:pt x="3810000" y="0"/>
                </a:cubicBezTo>
                <a:close/>
                <a:moveTo>
                  <a:pt x="3646932" y="2762250"/>
                </a:moveTo>
                <a:cubicBezTo>
                  <a:pt x="3634645" y="3006376"/>
                  <a:pt x="3578924" y="3222689"/>
                  <a:pt x="3400711" y="3400425"/>
                </a:cubicBezTo>
                <a:cubicBezTo>
                  <a:pt x="3222498" y="3578162"/>
                  <a:pt x="3006376" y="3635026"/>
                  <a:pt x="2762536" y="3646646"/>
                </a:cubicBezTo>
                <a:cubicBezTo>
                  <a:pt x="2510981" y="3660839"/>
                  <a:pt x="1756791" y="3660839"/>
                  <a:pt x="1505236" y="3646646"/>
                </a:cubicBezTo>
                <a:cubicBezTo>
                  <a:pt x="1261110" y="3634359"/>
                  <a:pt x="1045559" y="3578543"/>
                  <a:pt x="867061" y="3400425"/>
                </a:cubicBezTo>
                <a:cubicBezTo>
                  <a:pt x="688562" y="3222308"/>
                  <a:pt x="632460" y="3005899"/>
                  <a:pt x="620840" y="2762250"/>
                </a:cubicBezTo>
                <a:cubicBezTo>
                  <a:pt x="606647" y="2510599"/>
                  <a:pt x="606647" y="1756315"/>
                  <a:pt x="620840" y="1504950"/>
                </a:cubicBezTo>
                <a:cubicBezTo>
                  <a:pt x="633127" y="1260824"/>
                  <a:pt x="688181" y="1044512"/>
                  <a:pt x="867061" y="866775"/>
                </a:cubicBezTo>
                <a:cubicBezTo>
                  <a:pt x="1045940" y="689038"/>
                  <a:pt x="1262063" y="632841"/>
                  <a:pt x="1505236" y="621221"/>
                </a:cubicBezTo>
                <a:cubicBezTo>
                  <a:pt x="1756791" y="607028"/>
                  <a:pt x="2510981" y="607028"/>
                  <a:pt x="2762536" y="621221"/>
                </a:cubicBezTo>
                <a:cubicBezTo>
                  <a:pt x="3006662" y="633508"/>
                  <a:pt x="3222879" y="689324"/>
                  <a:pt x="3400711" y="867442"/>
                </a:cubicBezTo>
                <a:cubicBezTo>
                  <a:pt x="3578543" y="1045559"/>
                  <a:pt x="3635312" y="1261967"/>
                  <a:pt x="3646932" y="1506093"/>
                </a:cubicBezTo>
                <a:cubicBezTo>
                  <a:pt x="3661124" y="1756791"/>
                  <a:pt x="3661124" y="2510409"/>
                  <a:pt x="3646932" y="2762250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86" name="Gruppieren 33">
            <a:extLst>
              <a:ext uri="{FF2B5EF4-FFF2-40B4-BE49-F238E27FC236}">
                <a16:creationId xmlns:a16="http://schemas.microsoft.com/office/drawing/2014/main" id="{B89C7070-C3DD-4BC1-A8B2-06B4020B94D3}"/>
              </a:ext>
            </a:extLst>
          </p:cNvPr>
          <p:cNvGrpSpPr>
            <a:grpSpLocks/>
          </p:cNvGrpSpPr>
          <p:nvPr/>
        </p:nvGrpSpPr>
        <p:grpSpPr>
          <a:xfrm>
            <a:off x="3291680" y="5004924"/>
            <a:ext cx="2243792" cy="1001302"/>
            <a:chOff x="3203008" y="2315105"/>
            <a:chExt cx="2577579" cy="1001302"/>
          </a:xfrm>
        </p:grpSpPr>
        <p:sp>
          <p:nvSpPr>
            <p:cNvPr id="87" name="Copy contact 2">
              <a:extLst>
                <a:ext uri="{FF2B5EF4-FFF2-40B4-BE49-F238E27FC236}">
                  <a16:creationId xmlns:a16="http://schemas.microsoft.com/office/drawing/2014/main" id="{4E4B37C4-7BEA-40EE-938B-1FD224A1EECC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315105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wechat}</a:t>
              </a:r>
            </a:p>
          </p:txBody>
        </p:sp>
        <p:sp>
          <p:nvSpPr>
            <p:cNvPr id="88" name="Copy contact 2">
              <a:extLst>
                <a:ext uri="{FF2B5EF4-FFF2-40B4-BE49-F238E27FC236}">
                  <a16:creationId xmlns:a16="http://schemas.microsoft.com/office/drawing/2014/main" id="{CED78F7A-98DC-49C3-86FF-8FECBF7AC7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587317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phone_number}</a:t>
              </a:r>
            </a:p>
          </p:txBody>
        </p:sp>
        <p:sp>
          <p:nvSpPr>
            <p:cNvPr id="89" name="Copy contact 2">
              <a:extLst>
                <a:ext uri="{FF2B5EF4-FFF2-40B4-BE49-F238E27FC236}">
                  <a16:creationId xmlns:a16="http://schemas.microsoft.com/office/drawing/2014/main" id="{3F900EA6-0427-4313-905B-3F6D52BA75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2859529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mobile_number}</a:t>
              </a:r>
            </a:p>
          </p:txBody>
        </p:sp>
        <p:sp>
          <p:nvSpPr>
            <p:cNvPr id="90" name="Copy contact 2">
              <a:extLst>
                <a:ext uri="{FF2B5EF4-FFF2-40B4-BE49-F238E27FC236}">
                  <a16:creationId xmlns:a16="http://schemas.microsoft.com/office/drawing/2014/main" id="{C15F2FE3-038F-4A1F-84AC-9923D093B85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3008" y="3131741"/>
              <a:ext cx="2577579" cy="184666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41AAAA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name_3_facebook}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01178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96</Words>
  <Application>Microsoft Office PowerPoint</Application>
  <PresentationFormat>宽屏</PresentationFormat>
  <Paragraphs>3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9:41:40Z</dcterms:created>
  <dcterms:modified xsi:type="dcterms:W3CDTF">2025-09-12T02:55:07Z</dcterms:modified>
</cp:coreProperties>
</file>